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560" r:id="rId5"/>
    <p:sldId id="576" r:id="rId6"/>
    <p:sldId id="577" r:id="rId7"/>
    <p:sldId id="578" r:id="rId8"/>
    <p:sldId id="579" r:id="rId9"/>
    <p:sldId id="575" r:id="rId10"/>
  </p:sldIdLst>
  <p:sldSz cx="11522075" cy="6480175"/>
  <p:notesSz cx="6797675" cy="9926638"/>
  <p:custDataLst>
    <p:tags r:id="rId13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1">
          <p15:clr>
            <a:srgbClr val="A4A3A4"/>
          </p15:clr>
        </p15:guide>
        <p15:guide id="2" orient="horz" pos="740">
          <p15:clr>
            <a:srgbClr val="A4A3A4"/>
          </p15:clr>
        </p15:guide>
        <p15:guide id="3" orient="horz" pos="3621">
          <p15:clr>
            <a:srgbClr val="A4A3A4"/>
          </p15:clr>
        </p15:guide>
        <p15:guide id="4" pos="3629">
          <p15:clr>
            <a:srgbClr val="A4A3A4"/>
          </p15:clr>
        </p15:guide>
        <p15:guide id="5" pos="3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001A"/>
    <a:srgbClr val="47962D"/>
    <a:srgbClr val="FFFFFF"/>
    <a:srgbClr val="BDB6AF"/>
    <a:srgbClr val="CB6423"/>
    <a:srgbClr val="5F5826"/>
    <a:srgbClr val="692F47"/>
    <a:srgbClr val="084454"/>
    <a:srgbClr val="634632"/>
    <a:srgbClr val="E8E5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8BE5EA-9B46-409D-99C5-1F3D36BCA8C6}" v="55" dt="2021-03-24T07:12:28.4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7789" autoAdjust="0"/>
  </p:normalViewPr>
  <p:slideViewPr>
    <p:cSldViewPr snapToGrid="0">
      <p:cViewPr varScale="1">
        <p:scale>
          <a:sx n="72" d="100"/>
          <a:sy n="72" d="100"/>
        </p:scale>
        <p:origin x="810" y="60"/>
      </p:cViewPr>
      <p:guideLst>
        <p:guide orient="horz" pos="1191"/>
        <p:guide orient="horz" pos="740"/>
        <p:guide orient="horz" pos="3621"/>
        <p:guide pos="3629"/>
        <p:guide pos="3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>
        <p:scale>
          <a:sx n="65" d="100"/>
          <a:sy n="65" d="100"/>
        </p:scale>
        <p:origin x="-2322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i Mithul" userId="5086fe64-649b-4124-90bb-2017bdb081c3" providerId="ADAL" clId="{D68BE5EA-9B46-409D-99C5-1F3D36BCA8C6}"/>
    <pc:docChg chg="undo custSel addSld delSld modSld">
      <pc:chgData name="Mani Mithul" userId="5086fe64-649b-4124-90bb-2017bdb081c3" providerId="ADAL" clId="{D68BE5EA-9B46-409D-99C5-1F3D36BCA8C6}" dt="2021-03-24T11:14:05.014" v="1317" actId="20577"/>
      <pc:docMkLst>
        <pc:docMk/>
      </pc:docMkLst>
      <pc:sldChg chg="addSp modSp mod">
        <pc:chgData name="Mani Mithul" userId="5086fe64-649b-4124-90bb-2017bdb081c3" providerId="ADAL" clId="{D68BE5EA-9B46-409D-99C5-1F3D36BCA8C6}" dt="2021-03-24T06:56:05.377" v="736" actId="20577"/>
        <pc:sldMkLst>
          <pc:docMk/>
          <pc:sldMk cId="628603964" sldId="576"/>
        </pc:sldMkLst>
        <pc:spChg chg="mod">
          <ac:chgData name="Mani Mithul" userId="5086fe64-649b-4124-90bb-2017bdb081c3" providerId="ADAL" clId="{D68BE5EA-9B46-409D-99C5-1F3D36BCA8C6}" dt="2021-03-24T04:36:03.479" v="18" actId="20577"/>
          <ac:spMkLst>
            <pc:docMk/>
            <pc:sldMk cId="628603964" sldId="576"/>
            <ac:spMk id="5" creationId="{00000000-0000-0000-0000-000000000000}"/>
          </ac:spMkLst>
        </pc:spChg>
        <pc:spChg chg="mod">
          <ac:chgData name="Mani Mithul" userId="5086fe64-649b-4124-90bb-2017bdb081c3" providerId="ADAL" clId="{D68BE5EA-9B46-409D-99C5-1F3D36BCA8C6}" dt="2021-03-24T06:56:05.377" v="736" actId="20577"/>
          <ac:spMkLst>
            <pc:docMk/>
            <pc:sldMk cId="628603964" sldId="576"/>
            <ac:spMk id="6" creationId="{00000000-0000-0000-0000-000000000000}"/>
          </ac:spMkLst>
        </pc:spChg>
        <pc:graphicFrameChg chg="add mod">
          <ac:chgData name="Mani Mithul" userId="5086fe64-649b-4124-90bb-2017bdb081c3" providerId="ADAL" clId="{D68BE5EA-9B46-409D-99C5-1F3D36BCA8C6}" dt="2021-03-24T04:52:06.098" v="449" actId="1076"/>
          <ac:graphicFrameMkLst>
            <pc:docMk/>
            <pc:sldMk cId="628603964" sldId="576"/>
            <ac:graphicFrameMk id="7" creationId="{6C278A40-F080-41EF-9A49-D86851BE3771}"/>
          </ac:graphicFrameMkLst>
        </pc:graphicFrameChg>
        <pc:picChg chg="add mod">
          <ac:chgData name="Mani Mithul" userId="5086fe64-649b-4124-90bb-2017bdb081c3" providerId="ADAL" clId="{D68BE5EA-9B46-409D-99C5-1F3D36BCA8C6}" dt="2021-03-24T04:56:04.974" v="524" actId="1076"/>
          <ac:picMkLst>
            <pc:docMk/>
            <pc:sldMk cId="628603964" sldId="576"/>
            <ac:picMk id="8" creationId="{B0E58C8F-790E-4BE8-B350-2552D409897D}"/>
          </ac:picMkLst>
        </pc:picChg>
      </pc:sldChg>
      <pc:sldChg chg="modSp new mod">
        <pc:chgData name="Mani Mithul" userId="5086fe64-649b-4124-90bb-2017bdb081c3" providerId="ADAL" clId="{D68BE5EA-9B46-409D-99C5-1F3D36BCA8C6}" dt="2021-03-24T07:02:24.389" v="740" actId="113"/>
        <pc:sldMkLst>
          <pc:docMk/>
          <pc:sldMk cId="2267442133" sldId="577"/>
        </pc:sldMkLst>
        <pc:spChg chg="mod">
          <ac:chgData name="Mani Mithul" userId="5086fe64-649b-4124-90bb-2017bdb081c3" providerId="ADAL" clId="{D68BE5EA-9B46-409D-99C5-1F3D36BCA8C6}" dt="2021-03-24T04:57:06.093" v="551" actId="20577"/>
          <ac:spMkLst>
            <pc:docMk/>
            <pc:sldMk cId="2267442133" sldId="577"/>
            <ac:spMk id="5" creationId="{458A8675-8543-4D63-B678-87CEA6BB6038}"/>
          </ac:spMkLst>
        </pc:spChg>
        <pc:spChg chg="mod">
          <ac:chgData name="Mani Mithul" userId="5086fe64-649b-4124-90bb-2017bdb081c3" providerId="ADAL" clId="{D68BE5EA-9B46-409D-99C5-1F3D36BCA8C6}" dt="2021-03-24T07:02:24.389" v="740" actId="113"/>
          <ac:spMkLst>
            <pc:docMk/>
            <pc:sldMk cId="2267442133" sldId="577"/>
            <ac:spMk id="6" creationId="{3658A622-6219-4A37-A857-DB71737A7679}"/>
          </ac:spMkLst>
        </pc:spChg>
      </pc:sldChg>
      <pc:sldChg chg="addSp delSp modSp new mod">
        <pc:chgData name="Mani Mithul" userId="5086fe64-649b-4124-90bb-2017bdb081c3" providerId="ADAL" clId="{D68BE5EA-9B46-409D-99C5-1F3D36BCA8C6}" dt="2021-03-24T07:07:12.543" v="793" actId="478"/>
        <pc:sldMkLst>
          <pc:docMk/>
          <pc:sldMk cId="2791040063" sldId="578"/>
        </pc:sldMkLst>
        <pc:spChg chg="mod">
          <ac:chgData name="Mani Mithul" userId="5086fe64-649b-4124-90bb-2017bdb081c3" providerId="ADAL" clId="{D68BE5EA-9B46-409D-99C5-1F3D36BCA8C6}" dt="2021-03-24T07:04:05.958" v="789" actId="20577"/>
          <ac:spMkLst>
            <pc:docMk/>
            <pc:sldMk cId="2791040063" sldId="578"/>
            <ac:spMk id="5" creationId="{E652BB11-7A39-4ADA-8B99-DDF846B77036}"/>
          </ac:spMkLst>
        </pc:spChg>
        <pc:spChg chg="del">
          <ac:chgData name="Mani Mithul" userId="5086fe64-649b-4124-90bb-2017bdb081c3" providerId="ADAL" clId="{D68BE5EA-9B46-409D-99C5-1F3D36BCA8C6}" dt="2021-03-24T07:07:12.543" v="793" actId="478"/>
          <ac:spMkLst>
            <pc:docMk/>
            <pc:sldMk cId="2791040063" sldId="578"/>
            <ac:spMk id="6" creationId="{DF673057-FD26-48E9-A512-D54429F708BE}"/>
          </ac:spMkLst>
        </pc:spChg>
        <pc:picChg chg="add mod">
          <ac:chgData name="Mani Mithul" userId="5086fe64-649b-4124-90bb-2017bdb081c3" providerId="ADAL" clId="{D68BE5EA-9B46-409D-99C5-1F3D36BCA8C6}" dt="2021-03-24T07:04:42.422" v="792" actId="1076"/>
          <ac:picMkLst>
            <pc:docMk/>
            <pc:sldMk cId="2791040063" sldId="578"/>
            <ac:picMk id="7" creationId="{E91C3AA8-369A-47AD-BB73-92B1AA49D408}"/>
          </ac:picMkLst>
        </pc:picChg>
      </pc:sldChg>
      <pc:sldChg chg="modSp new mod">
        <pc:chgData name="Mani Mithul" userId="5086fe64-649b-4124-90bb-2017bdb081c3" providerId="ADAL" clId="{D68BE5EA-9B46-409D-99C5-1F3D36BCA8C6}" dt="2021-03-24T11:14:05.014" v="1317" actId="20577"/>
        <pc:sldMkLst>
          <pc:docMk/>
          <pc:sldMk cId="2770586237" sldId="579"/>
        </pc:sldMkLst>
        <pc:spChg chg="mod">
          <ac:chgData name="Mani Mithul" userId="5086fe64-649b-4124-90bb-2017bdb081c3" providerId="ADAL" clId="{D68BE5EA-9B46-409D-99C5-1F3D36BCA8C6}" dt="2021-03-24T07:35:47.125" v="1023" actId="20577"/>
          <ac:spMkLst>
            <pc:docMk/>
            <pc:sldMk cId="2770586237" sldId="579"/>
            <ac:spMk id="5" creationId="{A3B6F906-3B84-4460-AB8B-3FB85C3C5027}"/>
          </ac:spMkLst>
        </pc:spChg>
        <pc:spChg chg="mod">
          <ac:chgData name="Mani Mithul" userId="5086fe64-649b-4124-90bb-2017bdb081c3" providerId="ADAL" clId="{D68BE5EA-9B46-409D-99C5-1F3D36BCA8C6}" dt="2021-03-24T11:14:05.014" v="1317" actId="20577"/>
          <ac:spMkLst>
            <pc:docMk/>
            <pc:sldMk cId="2770586237" sldId="579"/>
            <ac:spMk id="6" creationId="{00C19942-2CD8-4B95-8AD4-B0E1C9F78470}"/>
          </ac:spMkLst>
        </pc:spChg>
      </pc:sldChg>
      <pc:sldChg chg="modSp new del mod">
        <pc:chgData name="Mani Mithul" userId="5086fe64-649b-4124-90bb-2017bdb081c3" providerId="ADAL" clId="{D68BE5EA-9B46-409D-99C5-1F3D36BCA8C6}" dt="2021-03-24T10:51:49.990" v="1297" actId="2696"/>
        <pc:sldMkLst>
          <pc:docMk/>
          <pc:sldMk cId="1899894913" sldId="580"/>
        </pc:sldMkLst>
        <pc:spChg chg="mod">
          <ac:chgData name="Mani Mithul" userId="5086fe64-649b-4124-90bb-2017bdb081c3" providerId="ADAL" clId="{D68BE5EA-9B46-409D-99C5-1F3D36BCA8C6}" dt="2021-03-24T10:21:14.852" v="1131" actId="20577"/>
          <ac:spMkLst>
            <pc:docMk/>
            <pc:sldMk cId="1899894913" sldId="580"/>
            <ac:spMk id="5" creationId="{C4BF5379-86EC-4CE2-9B28-1997394B30E1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2A7998-B4C3-4B57-B89F-1FBDBC24E78E}" type="doc">
      <dgm:prSet loTypeId="urn:microsoft.com/office/officeart/2008/layout/Radial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C1E211D-841F-4127-9AE1-55C0657C5D25}">
      <dgm:prSet phldrT="[Text]"/>
      <dgm:spPr/>
      <dgm:t>
        <a:bodyPr/>
        <a:lstStyle/>
        <a:p>
          <a:r>
            <a:rPr lang="en-IN" dirty="0"/>
            <a:t>Pandas</a:t>
          </a:r>
          <a:endParaRPr lang="en-US" dirty="0"/>
        </a:p>
      </dgm:t>
    </dgm:pt>
    <dgm:pt modelId="{CA3024FA-F30F-4D2F-BC35-0F4C0221F18B}" type="parTrans" cxnId="{08E6B432-3109-4402-9139-7A235BED1A37}">
      <dgm:prSet/>
      <dgm:spPr/>
      <dgm:t>
        <a:bodyPr/>
        <a:lstStyle/>
        <a:p>
          <a:endParaRPr lang="en-US"/>
        </a:p>
      </dgm:t>
    </dgm:pt>
    <dgm:pt modelId="{8D06FB9A-8DB9-430C-8539-52C234B929EA}" type="sibTrans" cxnId="{08E6B432-3109-4402-9139-7A235BED1A37}">
      <dgm:prSet/>
      <dgm:spPr/>
      <dgm:t>
        <a:bodyPr/>
        <a:lstStyle/>
        <a:p>
          <a:endParaRPr lang="en-US"/>
        </a:p>
      </dgm:t>
    </dgm:pt>
    <dgm:pt modelId="{5E980A76-E8AB-42BB-A467-7DB3E745947C}">
      <dgm:prSet phldrT="[Text]"/>
      <dgm:spPr/>
      <dgm:t>
        <a:bodyPr/>
        <a:lstStyle/>
        <a:p>
          <a:r>
            <a:rPr lang="en-IN" dirty="0"/>
            <a:t>NumPy</a:t>
          </a:r>
          <a:endParaRPr lang="en-US" dirty="0"/>
        </a:p>
      </dgm:t>
    </dgm:pt>
    <dgm:pt modelId="{668829E3-075E-4039-BA89-2FE0B6798307}" type="parTrans" cxnId="{419D7387-C63B-4493-A15A-5D851571CD2E}">
      <dgm:prSet/>
      <dgm:spPr/>
      <dgm:t>
        <a:bodyPr/>
        <a:lstStyle/>
        <a:p>
          <a:endParaRPr lang="en-US"/>
        </a:p>
      </dgm:t>
    </dgm:pt>
    <dgm:pt modelId="{01C15961-CD1D-4CCD-B023-C89CBF77C13E}" type="sibTrans" cxnId="{419D7387-C63B-4493-A15A-5D851571CD2E}">
      <dgm:prSet/>
      <dgm:spPr/>
      <dgm:t>
        <a:bodyPr/>
        <a:lstStyle/>
        <a:p>
          <a:endParaRPr lang="en-US"/>
        </a:p>
      </dgm:t>
    </dgm:pt>
    <dgm:pt modelId="{B83D4555-6A77-4FCF-AE4C-DBC239E49767}">
      <dgm:prSet phldrT="[Text]"/>
      <dgm:spPr/>
      <dgm:t>
        <a:bodyPr/>
        <a:lstStyle/>
        <a:p>
          <a:r>
            <a:rPr lang="en-IN" dirty="0"/>
            <a:t>Matplotlib</a:t>
          </a:r>
          <a:endParaRPr lang="en-US" dirty="0"/>
        </a:p>
      </dgm:t>
    </dgm:pt>
    <dgm:pt modelId="{321CB422-4E8B-406F-B668-EBB4E07467AC}" type="parTrans" cxnId="{6E481711-0A1A-4164-9783-13D16547BBE1}">
      <dgm:prSet/>
      <dgm:spPr/>
      <dgm:t>
        <a:bodyPr/>
        <a:lstStyle/>
        <a:p>
          <a:endParaRPr lang="en-US"/>
        </a:p>
      </dgm:t>
    </dgm:pt>
    <dgm:pt modelId="{1B455553-D5DC-478A-B3E4-5CD9BB6FEC8F}" type="sibTrans" cxnId="{6E481711-0A1A-4164-9783-13D16547BBE1}">
      <dgm:prSet/>
      <dgm:spPr/>
      <dgm:t>
        <a:bodyPr/>
        <a:lstStyle/>
        <a:p>
          <a:endParaRPr lang="en-US"/>
        </a:p>
      </dgm:t>
    </dgm:pt>
    <dgm:pt modelId="{B005AC80-6E2A-47EE-87E2-A21B0B55D82C}">
      <dgm:prSet phldrT="[Text]"/>
      <dgm:spPr/>
      <dgm:t>
        <a:bodyPr/>
        <a:lstStyle/>
        <a:p>
          <a:r>
            <a:rPr lang="en-IN" dirty="0"/>
            <a:t>Scikit-Learn</a:t>
          </a:r>
          <a:endParaRPr lang="en-US" dirty="0"/>
        </a:p>
      </dgm:t>
    </dgm:pt>
    <dgm:pt modelId="{27D37EBA-7A1C-466D-B7A2-FB6DE176996D}" type="parTrans" cxnId="{120D1C9E-2DF5-4D1B-97AB-10E03B6DD673}">
      <dgm:prSet/>
      <dgm:spPr/>
      <dgm:t>
        <a:bodyPr/>
        <a:lstStyle/>
        <a:p>
          <a:endParaRPr lang="en-US"/>
        </a:p>
      </dgm:t>
    </dgm:pt>
    <dgm:pt modelId="{8A24FA23-46D8-4FA3-98D7-BD573F4A40F3}" type="sibTrans" cxnId="{120D1C9E-2DF5-4D1B-97AB-10E03B6DD673}">
      <dgm:prSet/>
      <dgm:spPr/>
      <dgm:t>
        <a:bodyPr/>
        <a:lstStyle/>
        <a:p>
          <a:endParaRPr lang="en-US"/>
        </a:p>
      </dgm:t>
    </dgm:pt>
    <dgm:pt modelId="{84FB0A7F-35D5-4CE0-A41E-A6E57CC6175B}" type="pres">
      <dgm:prSet presAssocID="{DB2A7998-B4C3-4B57-B89F-1FBDBC24E78E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0BCA59CE-6AA0-4B4F-87D9-42FE0056CBD8}" type="pres">
      <dgm:prSet presAssocID="{4C1E211D-841F-4127-9AE1-55C0657C5D25}" presName="singleCycle" presStyleCnt="0"/>
      <dgm:spPr/>
    </dgm:pt>
    <dgm:pt modelId="{2CEED772-ABDB-4440-B74C-4A3B7731513E}" type="pres">
      <dgm:prSet presAssocID="{4C1E211D-841F-4127-9AE1-55C0657C5D25}" presName="singleCenter" presStyleLbl="node1" presStyleIdx="0" presStyleCnt="4">
        <dgm:presLayoutVars>
          <dgm:chMax val="7"/>
          <dgm:chPref val="7"/>
        </dgm:presLayoutVars>
      </dgm:prSet>
      <dgm:spPr/>
    </dgm:pt>
    <dgm:pt modelId="{C4E99767-0721-47F8-B26E-C988E1A14684}" type="pres">
      <dgm:prSet presAssocID="{668829E3-075E-4039-BA89-2FE0B6798307}" presName="Name56" presStyleLbl="parChTrans1D2" presStyleIdx="0" presStyleCnt="3"/>
      <dgm:spPr/>
    </dgm:pt>
    <dgm:pt modelId="{691E6516-36CC-4B5E-A6CC-C39D05B28159}" type="pres">
      <dgm:prSet presAssocID="{5E980A76-E8AB-42BB-A467-7DB3E745947C}" presName="text0" presStyleLbl="node1" presStyleIdx="1" presStyleCnt="4" custScaleX="126624" custScaleY="111364">
        <dgm:presLayoutVars>
          <dgm:bulletEnabled val="1"/>
        </dgm:presLayoutVars>
      </dgm:prSet>
      <dgm:spPr/>
    </dgm:pt>
    <dgm:pt modelId="{16C4DE3D-A3D9-49FF-96F3-504AD4CB0342}" type="pres">
      <dgm:prSet presAssocID="{321CB422-4E8B-406F-B668-EBB4E07467AC}" presName="Name56" presStyleLbl="parChTrans1D2" presStyleIdx="1" presStyleCnt="3"/>
      <dgm:spPr/>
    </dgm:pt>
    <dgm:pt modelId="{B2B542D8-3E29-46C2-9FE8-186D62D6B593}" type="pres">
      <dgm:prSet presAssocID="{B83D4555-6A77-4FCF-AE4C-DBC239E49767}" presName="text0" presStyleLbl="node1" presStyleIdx="2" presStyleCnt="4" custScaleX="138832" custScaleY="102205">
        <dgm:presLayoutVars>
          <dgm:bulletEnabled val="1"/>
        </dgm:presLayoutVars>
      </dgm:prSet>
      <dgm:spPr/>
    </dgm:pt>
    <dgm:pt modelId="{C0E95B9F-CF78-45E1-A044-8D7D1A8D9B2D}" type="pres">
      <dgm:prSet presAssocID="{27D37EBA-7A1C-466D-B7A2-FB6DE176996D}" presName="Name56" presStyleLbl="parChTrans1D2" presStyleIdx="2" presStyleCnt="3"/>
      <dgm:spPr/>
    </dgm:pt>
    <dgm:pt modelId="{DCBD62FE-9DC8-461A-A2F8-8E7392BBD2AB}" type="pres">
      <dgm:prSet presAssocID="{B005AC80-6E2A-47EE-87E2-A21B0B55D82C}" presName="text0" presStyleLbl="node1" presStyleIdx="3" presStyleCnt="4" custScaleX="137384" custScaleY="109270">
        <dgm:presLayoutVars>
          <dgm:bulletEnabled val="1"/>
        </dgm:presLayoutVars>
      </dgm:prSet>
      <dgm:spPr/>
    </dgm:pt>
  </dgm:ptLst>
  <dgm:cxnLst>
    <dgm:cxn modelId="{6E481711-0A1A-4164-9783-13D16547BBE1}" srcId="{4C1E211D-841F-4127-9AE1-55C0657C5D25}" destId="{B83D4555-6A77-4FCF-AE4C-DBC239E49767}" srcOrd="1" destOrd="0" parTransId="{321CB422-4E8B-406F-B668-EBB4E07467AC}" sibTransId="{1B455553-D5DC-478A-B3E4-5CD9BB6FEC8F}"/>
    <dgm:cxn modelId="{9E55901B-A938-412F-9D29-914E8A482BFB}" type="presOf" srcId="{B005AC80-6E2A-47EE-87E2-A21B0B55D82C}" destId="{DCBD62FE-9DC8-461A-A2F8-8E7392BBD2AB}" srcOrd="0" destOrd="0" presId="urn:microsoft.com/office/officeart/2008/layout/RadialCluster"/>
    <dgm:cxn modelId="{6C50DF30-FEEA-4B1A-9E69-8B0AD95EE17D}" type="presOf" srcId="{27D37EBA-7A1C-466D-B7A2-FB6DE176996D}" destId="{C0E95B9F-CF78-45E1-A044-8D7D1A8D9B2D}" srcOrd="0" destOrd="0" presId="urn:microsoft.com/office/officeart/2008/layout/RadialCluster"/>
    <dgm:cxn modelId="{08E6B432-3109-4402-9139-7A235BED1A37}" srcId="{DB2A7998-B4C3-4B57-B89F-1FBDBC24E78E}" destId="{4C1E211D-841F-4127-9AE1-55C0657C5D25}" srcOrd="0" destOrd="0" parTransId="{CA3024FA-F30F-4D2F-BC35-0F4C0221F18B}" sibTransId="{8D06FB9A-8DB9-430C-8539-52C234B929EA}"/>
    <dgm:cxn modelId="{62495234-F337-4F12-A514-8064D45C26E8}" type="presOf" srcId="{DB2A7998-B4C3-4B57-B89F-1FBDBC24E78E}" destId="{84FB0A7F-35D5-4CE0-A41E-A6E57CC6175B}" srcOrd="0" destOrd="0" presId="urn:microsoft.com/office/officeart/2008/layout/RadialCluster"/>
    <dgm:cxn modelId="{AF2A6B4E-9C6F-4EA5-9E19-526F73A05416}" type="presOf" srcId="{321CB422-4E8B-406F-B668-EBB4E07467AC}" destId="{16C4DE3D-A3D9-49FF-96F3-504AD4CB0342}" srcOrd="0" destOrd="0" presId="urn:microsoft.com/office/officeart/2008/layout/RadialCluster"/>
    <dgm:cxn modelId="{45CFA36E-E150-43A5-B57F-DC466008713A}" type="presOf" srcId="{4C1E211D-841F-4127-9AE1-55C0657C5D25}" destId="{2CEED772-ABDB-4440-B74C-4A3B7731513E}" srcOrd="0" destOrd="0" presId="urn:microsoft.com/office/officeart/2008/layout/RadialCluster"/>
    <dgm:cxn modelId="{2E147F52-08AD-48D1-A9B9-F75078275F30}" type="presOf" srcId="{B83D4555-6A77-4FCF-AE4C-DBC239E49767}" destId="{B2B542D8-3E29-46C2-9FE8-186D62D6B593}" srcOrd="0" destOrd="0" presId="urn:microsoft.com/office/officeart/2008/layout/RadialCluster"/>
    <dgm:cxn modelId="{419D7387-C63B-4493-A15A-5D851571CD2E}" srcId="{4C1E211D-841F-4127-9AE1-55C0657C5D25}" destId="{5E980A76-E8AB-42BB-A467-7DB3E745947C}" srcOrd="0" destOrd="0" parTransId="{668829E3-075E-4039-BA89-2FE0B6798307}" sibTransId="{01C15961-CD1D-4CCD-B023-C89CBF77C13E}"/>
    <dgm:cxn modelId="{80BBEA8D-CFE7-4F4E-93E8-E086FD078B34}" type="presOf" srcId="{668829E3-075E-4039-BA89-2FE0B6798307}" destId="{C4E99767-0721-47F8-B26E-C988E1A14684}" srcOrd="0" destOrd="0" presId="urn:microsoft.com/office/officeart/2008/layout/RadialCluster"/>
    <dgm:cxn modelId="{120D1C9E-2DF5-4D1B-97AB-10E03B6DD673}" srcId="{4C1E211D-841F-4127-9AE1-55C0657C5D25}" destId="{B005AC80-6E2A-47EE-87E2-A21B0B55D82C}" srcOrd="2" destOrd="0" parTransId="{27D37EBA-7A1C-466D-B7A2-FB6DE176996D}" sibTransId="{8A24FA23-46D8-4FA3-98D7-BD573F4A40F3}"/>
    <dgm:cxn modelId="{C4E97BFE-C262-4EEA-B412-CE45D15769F4}" type="presOf" srcId="{5E980A76-E8AB-42BB-A467-7DB3E745947C}" destId="{691E6516-36CC-4B5E-A6CC-C39D05B28159}" srcOrd="0" destOrd="0" presId="urn:microsoft.com/office/officeart/2008/layout/RadialCluster"/>
    <dgm:cxn modelId="{192EEDD0-A2E1-4C4A-97AB-809B3AB6A805}" type="presParOf" srcId="{84FB0A7F-35D5-4CE0-A41E-A6E57CC6175B}" destId="{0BCA59CE-6AA0-4B4F-87D9-42FE0056CBD8}" srcOrd="0" destOrd="0" presId="urn:microsoft.com/office/officeart/2008/layout/RadialCluster"/>
    <dgm:cxn modelId="{27ED5379-EF6F-4B9B-B2B6-6DAC0B1A29B4}" type="presParOf" srcId="{0BCA59CE-6AA0-4B4F-87D9-42FE0056CBD8}" destId="{2CEED772-ABDB-4440-B74C-4A3B7731513E}" srcOrd="0" destOrd="0" presId="urn:microsoft.com/office/officeart/2008/layout/RadialCluster"/>
    <dgm:cxn modelId="{ADF284E2-4E45-4E51-955F-BC66EE917C9C}" type="presParOf" srcId="{0BCA59CE-6AA0-4B4F-87D9-42FE0056CBD8}" destId="{C4E99767-0721-47F8-B26E-C988E1A14684}" srcOrd="1" destOrd="0" presId="urn:microsoft.com/office/officeart/2008/layout/RadialCluster"/>
    <dgm:cxn modelId="{A506A0A6-50B1-4CB9-9189-F50EAD5F7832}" type="presParOf" srcId="{0BCA59CE-6AA0-4B4F-87D9-42FE0056CBD8}" destId="{691E6516-36CC-4B5E-A6CC-C39D05B28159}" srcOrd="2" destOrd="0" presId="urn:microsoft.com/office/officeart/2008/layout/RadialCluster"/>
    <dgm:cxn modelId="{940B6968-A93A-4F9E-B67A-30F7E2F514B3}" type="presParOf" srcId="{0BCA59CE-6AA0-4B4F-87D9-42FE0056CBD8}" destId="{16C4DE3D-A3D9-49FF-96F3-504AD4CB0342}" srcOrd="3" destOrd="0" presId="urn:microsoft.com/office/officeart/2008/layout/RadialCluster"/>
    <dgm:cxn modelId="{30F381C1-5B0F-45A2-9048-C2FDFDE93F99}" type="presParOf" srcId="{0BCA59CE-6AA0-4B4F-87D9-42FE0056CBD8}" destId="{B2B542D8-3E29-46C2-9FE8-186D62D6B593}" srcOrd="4" destOrd="0" presId="urn:microsoft.com/office/officeart/2008/layout/RadialCluster"/>
    <dgm:cxn modelId="{8120C946-7F84-4C6F-9C33-8A4A4DD5F8F6}" type="presParOf" srcId="{0BCA59CE-6AA0-4B4F-87D9-42FE0056CBD8}" destId="{C0E95B9F-CF78-45E1-A044-8D7D1A8D9B2D}" srcOrd="5" destOrd="0" presId="urn:microsoft.com/office/officeart/2008/layout/RadialCluster"/>
    <dgm:cxn modelId="{7E0267DC-A593-4E9A-949B-33B9CA2899E7}" type="presParOf" srcId="{0BCA59CE-6AA0-4B4F-87D9-42FE0056CBD8}" destId="{DCBD62FE-9DC8-461A-A2F8-8E7392BBD2AB}" srcOrd="6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EED772-ABDB-4440-B74C-4A3B7731513E}">
      <dsp:nvSpPr>
        <dsp:cNvPr id="0" name=""/>
        <dsp:cNvSpPr/>
      </dsp:nvSpPr>
      <dsp:spPr>
        <a:xfrm>
          <a:off x="2337163" y="1740810"/>
          <a:ext cx="1120004" cy="11200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Pandas</a:t>
          </a:r>
          <a:endParaRPr lang="en-US" sz="2000" kern="1200" dirty="0"/>
        </a:p>
      </dsp:txBody>
      <dsp:txXfrm>
        <a:off x="2391837" y="1795484"/>
        <a:ext cx="1010656" cy="1010656"/>
      </dsp:txXfrm>
    </dsp:sp>
    <dsp:sp modelId="{C4E99767-0721-47F8-B26E-C988E1A14684}">
      <dsp:nvSpPr>
        <dsp:cNvPr id="0" name=""/>
        <dsp:cNvSpPr/>
      </dsp:nvSpPr>
      <dsp:spPr>
        <a:xfrm rot="16200000">
          <a:off x="2525666" y="1369310"/>
          <a:ext cx="74299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42998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1E6516-36CC-4B5E-A6CC-C39D05B28159}">
      <dsp:nvSpPr>
        <dsp:cNvPr id="0" name=""/>
        <dsp:cNvSpPr/>
      </dsp:nvSpPr>
      <dsp:spPr>
        <a:xfrm>
          <a:off x="2422070" y="162132"/>
          <a:ext cx="950190" cy="835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/>
            <a:t>NumPy</a:t>
          </a:r>
          <a:endParaRPr lang="en-US" sz="1800" kern="1200" dirty="0"/>
        </a:p>
      </dsp:txBody>
      <dsp:txXfrm>
        <a:off x="2462864" y="202926"/>
        <a:ext cx="868602" cy="754090"/>
      </dsp:txXfrm>
    </dsp:sp>
    <dsp:sp modelId="{16C4DE3D-A3D9-49FF-96F3-504AD4CB0342}">
      <dsp:nvSpPr>
        <dsp:cNvPr id="0" name=""/>
        <dsp:cNvSpPr/>
      </dsp:nvSpPr>
      <dsp:spPr>
        <a:xfrm rot="1800000">
          <a:off x="3425501" y="2742310"/>
          <a:ext cx="47272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72722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B542D8-3E29-46C2-9FE8-186D62D6B593}">
      <dsp:nvSpPr>
        <dsp:cNvPr id="0" name=""/>
        <dsp:cNvSpPr/>
      </dsp:nvSpPr>
      <dsp:spPr>
        <a:xfrm>
          <a:off x="3866557" y="2777757"/>
          <a:ext cx="1041799" cy="7669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/>
            <a:t>Matplotlib</a:t>
          </a:r>
          <a:endParaRPr lang="en-US" sz="1600" kern="1200" dirty="0"/>
        </a:p>
      </dsp:txBody>
      <dsp:txXfrm>
        <a:off x="3903996" y="2815196"/>
        <a:ext cx="966921" cy="692071"/>
      </dsp:txXfrm>
    </dsp:sp>
    <dsp:sp modelId="{C0E95B9F-CF78-45E1-A044-8D7D1A8D9B2D}">
      <dsp:nvSpPr>
        <dsp:cNvPr id="0" name=""/>
        <dsp:cNvSpPr/>
      </dsp:nvSpPr>
      <dsp:spPr>
        <a:xfrm rot="9000000">
          <a:off x="1890254" y="2743878"/>
          <a:ext cx="47899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78995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BD62FE-9DC8-461A-A2F8-8E7392BBD2AB}">
      <dsp:nvSpPr>
        <dsp:cNvPr id="0" name=""/>
        <dsp:cNvSpPr/>
      </dsp:nvSpPr>
      <dsp:spPr>
        <a:xfrm>
          <a:off x="891408" y="2751249"/>
          <a:ext cx="1030933" cy="8199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420" tIns="58420" rIns="58420" bIns="5842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300" kern="1200" dirty="0"/>
            <a:t>Scikit-Learn</a:t>
          </a:r>
          <a:endParaRPr lang="en-US" sz="2300" kern="1200" dirty="0"/>
        </a:p>
      </dsp:txBody>
      <dsp:txXfrm>
        <a:off x="931435" y="2791276"/>
        <a:ext cx="950879" cy="7399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48" cy="495858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227" y="1"/>
            <a:ext cx="2944869" cy="495858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r">
              <a:defRPr sz="1200"/>
            </a:lvl1pPr>
          </a:lstStyle>
          <a:p>
            <a:fld id="{2E32AD0D-FCE4-4AC3-80E4-391363750BC0}" type="datetimeFigureOut">
              <a:rPr lang="sv-SE" sz="1100">
                <a:latin typeface="Arial" pitchFamily="34" charset="0"/>
                <a:cs typeface="Arial" pitchFamily="34" charset="0"/>
              </a:rPr>
              <a:t>2021-03-24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202"/>
            <a:ext cx="2946448" cy="495858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227" y="9429202"/>
            <a:ext cx="2944869" cy="495858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r">
              <a:defRPr sz="1200"/>
            </a:lvl1pPr>
          </a:lstStyle>
          <a:p>
            <a:fld id="{04EFD27F-DCDB-4D3B-B6DE-946B7D4F34DB}" type="slidenum">
              <a:rPr lang="sv-SE" sz="1100">
                <a:latin typeface="Arial" pitchFamily="34" charset="0"/>
                <a:cs typeface="Arial" pitchFamily="34" charset="0"/>
              </a:rPr>
              <a:t>‹#›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38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B35A79AD-8434-4456-9B6E-2D4F4A74A796}" type="datetimeFigureOut">
              <a:rPr lang="sv-SE" smtClean="0"/>
              <a:pPr/>
              <a:t>2021-03-24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55" tIns="45478" rIns="90955" bIns="45478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0955" tIns="45478" rIns="90955" bIns="45478" rtlCol="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68186CD8-2B5F-47D2-B024-69831587248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4230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657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1522075" cy="648017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86411" tIns="43205" rIns="86411" bIns="43205"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2521037" y="0"/>
            <a:ext cx="6480000" cy="6480175"/>
          </a:xfrm>
          <a:prstGeom prst="rect">
            <a:avLst/>
          </a:prstGeom>
          <a:solidFill>
            <a:schemeClr val="bg1">
              <a:alpha val="50196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11" tIns="43205" rIns="86411" bIns="43205" rtlCol="0" anchor="ctr"/>
          <a:lstStyle/>
          <a:p>
            <a:pPr algn="ctr"/>
            <a:endParaRPr lang="en-US" sz="1900">
              <a:solidFill>
                <a:schemeClr val="tx1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72157" y="4890500"/>
            <a:ext cx="9749756" cy="540015"/>
          </a:xfrm>
        </p:spPr>
        <p:txBody>
          <a:bodyPr/>
          <a:lstStyle>
            <a:lvl1pPr algn="ctr">
              <a:defRPr sz="28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714309" y="5376727"/>
            <a:ext cx="8065453" cy="766482"/>
          </a:xfrm>
        </p:spPr>
        <p:txBody>
          <a:bodyPr>
            <a:normAutofit/>
          </a:bodyPr>
          <a:lstStyle>
            <a:lvl1pPr marL="0" indent="0" algn="ctr">
              <a:buFont typeface="Symbol" pitchFamily="18" charset="2"/>
              <a:buNone/>
              <a:defRPr sz="1600" baseline="0"/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pic>
        <p:nvPicPr>
          <p:cNvPr id="11" name="Bildobjekt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037" y="2340087"/>
            <a:ext cx="1800000" cy="1800000"/>
          </a:xfrm>
          <a:prstGeom prst="rect">
            <a:avLst/>
          </a:prstGeom>
          <a:ln w="12700">
            <a:noFill/>
          </a:ln>
        </p:spPr>
      </p:pic>
      <p:sp>
        <p:nvSpPr>
          <p:cNvPr id="9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45588" y="5788800"/>
            <a:ext cx="1430898" cy="33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8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1B62035-FDD1-4754-A990-8C607939FE8E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627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ards (w/ kick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062" y="582900"/>
            <a:ext cx="10097540" cy="1076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67062" y="1659225"/>
            <a:ext cx="4967763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ubheading 1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67062" y="1983224"/>
            <a:ext cx="4967764" cy="3240000"/>
          </a:xfrm>
          <a:ln>
            <a:solidFill>
              <a:schemeClr val="accent2"/>
            </a:solidFill>
          </a:ln>
        </p:spPr>
        <p:txBody>
          <a:bodyPr tIns="90000">
            <a:normAutofit/>
          </a:bodyPr>
          <a:lstStyle>
            <a:lvl1pPr marL="234950" indent="-23495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lang="en-US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796603" y="1659225"/>
            <a:ext cx="4967999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2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796602" y="1983224"/>
            <a:ext cx="4968000" cy="3240000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67299" y="5362616"/>
            <a:ext cx="10097540" cy="324000"/>
          </a:xfrm>
          <a:solidFill>
            <a:schemeClr val="accent5"/>
          </a:solidFill>
          <a:ln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icker</a:t>
            </a:r>
            <a:endParaRPr lang="en-US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475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ards (w/ kick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67298" y="1659225"/>
            <a:ext cx="3240000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1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67298" y="1983224"/>
            <a:ext cx="3240000" cy="3240000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096068" y="1659225"/>
            <a:ext cx="3240000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2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096068" y="1983224"/>
            <a:ext cx="3240000" cy="3240000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7524838" y="1659225"/>
            <a:ext cx="3240000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3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7524838" y="1983224"/>
            <a:ext cx="3240000" cy="3240000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67299" y="5362616"/>
            <a:ext cx="10097540" cy="324000"/>
          </a:xfrm>
          <a:solidFill>
            <a:schemeClr val="accent5"/>
          </a:solidFill>
          <a:ln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icker</a:t>
            </a:r>
            <a:endParaRPr lang="en-US" dirty="0"/>
          </a:p>
        </p:txBody>
      </p:sp>
      <p:sp>
        <p:nvSpPr>
          <p:cNvPr id="1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2424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ards (w/o kick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062" y="582900"/>
            <a:ext cx="10097540" cy="1076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67062" y="1659225"/>
            <a:ext cx="4967763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ubheading 1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67062" y="1983224"/>
            <a:ext cx="4967764" cy="3703392"/>
          </a:xfrm>
          <a:ln>
            <a:solidFill>
              <a:schemeClr val="accent2"/>
            </a:solidFill>
          </a:ln>
        </p:spPr>
        <p:txBody>
          <a:bodyPr tIns="90000">
            <a:normAutofit/>
          </a:bodyPr>
          <a:lstStyle>
            <a:lvl1pPr marL="234950" indent="-23495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lang="en-US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796603" y="1659225"/>
            <a:ext cx="4967999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2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796602" y="1983224"/>
            <a:ext cx="4968000" cy="3703392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0191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ards (w/o kick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67298" y="1659225"/>
            <a:ext cx="3240000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1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67298" y="1983224"/>
            <a:ext cx="3240000" cy="3703392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096068" y="1659225"/>
            <a:ext cx="3240000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2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096068" y="1983224"/>
            <a:ext cx="3240000" cy="3703392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7524838" y="1659225"/>
            <a:ext cx="3240000" cy="324000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marL="234950" lvl="0" indent="-234950" algn="ctr"/>
            <a:r>
              <a:rPr lang="sv-SE" dirty="0"/>
              <a:t>Subheading 3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7524838" y="1983224"/>
            <a:ext cx="3240000" cy="3703392"/>
          </a:xfrm>
          <a:ln>
            <a:solidFill>
              <a:schemeClr val="accent2"/>
            </a:solidFill>
          </a:ln>
        </p:spPr>
        <p:txBody>
          <a:bodyPr vert="horz" lIns="91440" tIns="90000" rIns="91440" bIns="4572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6090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44698" y="4728649"/>
            <a:ext cx="11277377" cy="175152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277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063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  <p:pic>
        <p:nvPicPr>
          <p:cNvPr id="15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667297" y="1663908"/>
            <a:ext cx="10097541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29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763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67298" y="1115947"/>
            <a:ext cx="10082786" cy="3861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18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CDD0C636-05A5-48B5-AA72-E7C2AB438416}" type="datetime1">
              <a:rPr lang="sv-SE" smtClean="0"/>
              <a:t>2021-03-24</a:t>
            </a:fld>
            <a:endParaRPr lang="en-US" dirty="0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667298" y="582901"/>
            <a:ext cx="10097540" cy="52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"/>
          <p:cNvSpPr>
            <a:spLocks noGrp="1"/>
          </p:cNvSpPr>
          <p:nvPr>
            <p:ph idx="18"/>
          </p:nvPr>
        </p:nvSpPr>
        <p:spPr>
          <a:xfrm>
            <a:off x="667062" y="1663908"/>
            <a:ext cx="10097776" cy="4107305"/>
          </a:xfrm>
          <a:prstGeom prst="rect">
            <a:avLst/>
          </a:prstGeom>
        </p:spPr>
        <p:txBody>
          <a:bodyPr/>
          <a:lstStyle>
            <a:lvl1pPr marL="23495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5450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8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67062" y="1663908"/>
            <a:ext cx="4968000" cy="4107305"/>
          </a:xfrm>
          <a:prstGeom prst="rect">
            <a:avLst/>
          </a:prstGeom>
        </p:spPr>
        <p:txBody>
          <a:bodyPr/>
          <a:lstStyle>
            <a:lvl1pPr marL="23495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613DEB46-A4D6-4371-9465-F6CAA83498D3}" type="datetime1">
              <a:rPr lang="sv-SE" smtClean="0"/>
              <a:t>2021-03-24</a:t>
            </a:fld>
            <a:endParaRPr lang="en-US" dirty="0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5781675" y="1663908"/>
            <a:ext cx="4968000" cy="4107305"/>
          </a:xfrm>
          <a:prstGeom prst="rect">
            <a:avLst/>
          </a:prstGeom>
        </p:spPr>
        <p:txBody>
          <a:bodyPr/>
          <a:lstStyle>
            <a:lvl1pPr marL="23495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3519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831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2B7F77B0-C716-44EE-A660-6736AE8EA5C8}" type="datetime1">
              <a:rPr lang="sv-SE" smtClean="0"/>
              <a:t>2021-03-24</a:t>
            </a:fld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11522075" cy="6480175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408746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411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5085802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667297" y="1663908"/>
            <a:ext cx="5085803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753100" y="-1"/>
            <a:ext cx="5768974" cy="6480175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59779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47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AE16A705-0D58-4697-A05F-5B31617857E0}" type="datetime1">
              <a:rPr lang="sv-SE" smtClean="0"/>
              <a:t>2021-03-24</a:t>
            </a:fld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57238" y="676276"/>
            <a:ext cx="5011736" cy="5086350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895974" y="582900"/>
            <a:ext cx="4868863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idx="1"/>
          </p:nvPr>
        </p:nvSpPr>
        <p:spPr>
          <a:xfrm>
            <a:off x="5895975" y="1663908"/>
            <a:ext cx="4868863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60360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379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71D2C93F-375D-4D8A-BC90-9A67A0A72FAC}" type="datetime1">
              <a:rPr lang="sv-SE" smtClean="0"/>
              <a:t>2021-03-24</a:t>
            </a:fld>
            <a:endParaRPr lang="en-US" dirty="0"/>
          </a:p>
        </p:txBody>
      </p:sp>
      <p:pic>
        <p:nvPicPr>
          <p:cNvPr id="10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4249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Brand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 userDrawn="1"/>
        </p:nvSpPr>
        <p:spPr>
          <a:xfrm>
            <a:off x="0" y="0"/>
            <a:ext cx="11522075" cy="6480175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214" tIns="57607" rIns="115214" bIns="576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>
              <a:solidFill>
                <a:schemeClr val="tx1"/>
              </a:solidFill>
            </a:endParaRPr>
          </a:p>
        </p:txBody>
      </p:sp>
      <p:sp>
        <p:nvSpPr>
          <p:cNvPr id="76" name="Rectangle 59"/>
          <p:cNvSpPr/>
          <p:nvPr userDrawn="1"/>
        </p:nvSpPr>
        <p:spPr>
          <a:xfrm>
            <a:off x="631500" y="294942"/>
            <a:ext cx="7240561" cy="620417"/>
          </a:xfrm>
          <a:prstGeom prst="rect">
            <a:avLst/>
          </a:prstGeom>
        </p:spPr>
        <p:txBody>
          <a:bodyPr wrap="none" lIns="115214" tIns="57607" rIns="115214" bIns="57607">
            <a:spAutoFit/>
          </a:bodyPr>
          <a:lstStyle/>
          <a:p>
            <a:r>
              <a:rPr lang="sv-SE" sz="3300" b="1" kern="1200" spc="-101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brand </a:t>
            </a:r>
            <a:r>
              <a:rPr lang="en-US" sz="3300" b="1" kern="1200" spc="-101" baseline="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e</a:t>
            </a:r>
            <a:r>
              <a:rPr lang="sv-SE" sz="3300" b="1" kern="1200" spc="-101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accent colors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782003" y="3764328"/>
            <a:ext cx="317538" cy="317489"/>
          </a:xfrm>
          <a:prstGeom prst="ellipse">
            <a:avLst/>
          </a:prstGeom>
          <a:solidFill>
            <a:srgbClr val="DA4451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1" name="Rectangle 81"/>
          <p:cNvSpPr/>
          <p:nvPr userDrawn="1"/>
        </p:nvSpPr>
        <p:spPr>
          <a:xfrm>
            <a:off x="617700" y="906017"/>
            <a:ext cx="4585195" cy="691506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Profile colors</a:t>
            </a:r>
          </a:p>
          <a:p>
            <a:pPr marL="0" indent="0">
              <a:spcBef>
                <a:spcPts val="252"/>
              </a:spcBef>
              <a:buNone/>
            </a:pPr>
            <a:r>
              <a:rPr lang="en-US" sz="1100" baseline="0" dirty="0">
                <a:solidFill>
                  <a:schemeClr val="tx1"/>
                </a:solidFill>
              </a:rPr>
              <a:t>These are our primary colors for decorative purposes. </a:t>
            </a:r>
            <a:br>
              <a:rPr lang="en-US" sz="1100" baseline="0" dirty="0">
                <a:solidFill>
                  <a:schemeClr val="tx1"/>
                </a:solidFill>
              </a:rPr>
            </a:br>
            <a:r>
              <a:rPr lang="en-US" sz="1100" baseline="0" dirty="0">
                <a:solidFill>
                  <a:schemeClr val="tx1"/>
                </a:solidFill>
              </a:rPr>
              <a:t>Use each color in 100%. (Avoid to use the tints and shades.) </a:t>
            </a:r>
          </a:p>
        </p:txBody>
      </p:sp>
      <p:cxnSp>
        <p:nvCxnSpPr>
          <p:cNvPr id="73" name="Rak 2"/>
          <p:cNvCxnSpPr/>
          <p:nvPr userDrawn="1"/>
        </p:nvCxnSpPr>
        <p:spPr>
          <a:xfrm>
            <a:off x="1148533" y="2375754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ak 89"/>
          <p:cNvCxnSpPr/>
          <p:nvPr userDrawn="1"/>
        </p:nvCxnSpPr>
        <p:spPr>
          <a:xfrm>
            <a:off x="2166427" y="2377281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Rak 91"/>
          <p:cNvCxnSpPr/>
          <p:nvPr userDrawn="1"/>
        </p:nvCxnSpPr>
        <p:spPr>
          <a:xfrm>
            <a:off x="1148533" y="1951259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Rak 92"/>
          <p:cNvCxnSpPr/>
          <p:nvPr userDrawn="1"/>
        </p:nvCxnSpPr>
        <p:spPr>
          <a:xfrm>
            <a:off x="2166427" y="1952786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Rak 95"/>
          <p:cNvCxnSpPr/>
          <p:nvPr userDrawn="1"/>
        </p:nvCxnSpPr>
        <p:spPr>
          <a:xfrm>
            <a:off x="1148533" y="2797223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Rak 96"/>
          <p:cNvCxnSpPr/>
          <p:nvPr userDrawn="1"/>
        </p:nvCxnSpPr>
        <p:spPr>
          <a:xfrm>
            <a:off x="2166427" y="2798750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Rak 97"/>
          <p:cNvCxnSpPr/>
          <p:nvPr userDrawn="1"/>
        </p:nvCxnSpPr>
        <p:spPr>
          <a:xfrm>
            <a:off x="1148533" y="32130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Rak 98"/>
          <p:cNvCxnSpPr/>
          <p:nvPr userDrawn="1"/>
        </p:nvCxnSpPr>
        <p:spPr>
          <a:xfrm>
            <a:off x="2166427" y="32145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Rak 99"/>
          <p:cNvCxnSpPr/>
          <p:nvPr userDrawn="1"/>
        </p:nvCxnSpPr>
        <p:spPr>
          <a:xfrm>
            <a:off x="1148533" y="363395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Rak 100"/>
          <p:cNvCxnSpPr/>
          <p:nvPr userDrawn="1"/>
        </p:nvCxnSpPr>
        <p:spPr>
          <a:xfrm>
            <a:off x="2166427" y="363548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Rak 101"/>
          <p:cNvCxnSpPr/>
          <p:nvPr userDrawn="1"/>
        </p:nvCxnSpPr>
        <p:spPr>
          <a:xfrm>
            <a:off x="1148533" y="40549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Rak 102"/>
          <p:cNvCxnSpPr/>
          <p:nvPr userDrawn="1"/>
        </p:nvCxnSpPr>
        <p:spPr>
          <a:xfrm>
            <a:off x="2166427" y="40564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Rak 103"/>
          <p:cNvCxnSpPr/>
          <p:nvPr userDrawn="1"/>
        </p:nvCxnSpPr>
        <p:spPr>
          <a:xfrm>
            <a:off x="1148533" y="4477662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Rak 104"/>
          <p:cNvCxnSpPr/>
          <p:nvPr userDrawn="1"/>
        </p:nvCxnSpPr>
        <p:spPr>
          <a:xfrm>
            <a:off x="2166427" y="4479189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Rak 107"/>
          <p:cNvCxnSpPr/>
          <p:nvPr userDrawn="1"/>
        </p:nvCxnSpPr>
        <p:spPr>
          <a:xfrm>
            <a:off x="3847559" y="2375754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Rak 108"/>
          <p:cNvCxnSpPr/>
          <p:nvPr userDrawn="1"/>
        </p:nvCxnSpPr>
        <p:spPr>
          <a:xfrm>
            <a:off x="4865453" y="2377281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Rak 109"/>
          <p:cNvCxnSpPr/>
          <p:nvPr userDrawn="1"/>
        </p:nvCxnSpPr>
        <p:spPr>
          <a:xfrm>
            <a:off x="3847559" y="1951259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Rak 110"/>
          <p:cNvCxnSpPr/>
          <p:nvPr userDrawn="1"/>
        </p:nvCxnSpPr>
        <p:spPr>
          <a:xfrm>
            <a:off x="4865453" y="1952786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Rak 111"/>
          <p:cNvCxnSpPr/>
          <p:nvPr userDrawn="1"/>
        </p:nvCxnSpPr>
        <p:spPr>
          <a:xfrm>
            <a:off x="3847559" y="2797223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Rak 112"/>
          <p:cNvCxnSpPr/>
          <p:nvPr userDrawn="1"/>
        </p:nvCxnSpPr>
        <p:spPr>
          <a:xfrm>
            <a:off x="4865453" y="2798750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Rak 113"/>
          <p:cNvCxnSpPr/>
          <p:nvPr userDrawn="1"/>
        </p:nvCxnSpPr>
        <p:spPr>
          <a:xfrm>
            <a:off x="3847559" y="32130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Rak 114"/>
          <p:cNvCxnSpPr/>
          <p:nvPr userDrawn="1"/>
        </p:nvCxnSpPr>
        <p:spPr>
          <a:xfrm>
            <a:off x="4865453" y="32145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Rak 115"/>
          <p:cNvCxnSpPr/>
          <p:nvPr userDrawn="1"/>
        </p:nvCxnSpPr>
        <p:spPr>
          <a:xfrm>
            <a:off x="3847559" y="363395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Rak 116"/>
          <p:cNvCxnSpPr/>
          <p:nvPr userDrawn="1"/>
        </p:nvCxnSpPr>
        <p:spPr>
          <a:xfrm>
            <a:off x="4865453" y="363548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Rak 117"/>
          <p:cNvCxnSpPr/>
          <p:nvPr userDrawn="1"/>
        </p:nvCxnSpPr>
        <p:spPr>
          <a:xfrm>
            <a:off x="3847559" y="40549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Rak 118"/>
          <p:cNvCxnSpPr/>
          <p:nvPr userDrawn="1"/>
        </p:nvCxnSpPr>
        <p:spPr>
          <a:xfrm>
            <a:off x="4865453" y="40564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81"/>
          <p:cNvSpPr/>
          <p:nvPr userDrawn="1"/>
        </p:nvSpPr>
        <p:spPr>
          <a:xfrm>
            <a:off x="9087716" y="928001"/>
            <a:ext cx="2280737" cy="1116613"/>
          </a:xfrm>
          <a:prstGeom prst="rect">
            <a:avLst/>
          </a:prstGeom>
        </p:spPr>
        <p:txBody>
          <a:bodyPr wrap="square" lIns="115214" tIns="57607" rIns="115214" bIns="57607" numCol="1" spcCol="45360">
            <a:spAutoFit/>
          </a:bodyPr>
          <a:lstStyle/>
          <a:p>
            <a:pPr marL="0" indent="0">
              <a:spcBef>
                <a:spcPts val="290"/>
              </a:spcBef>
              <a:buNone/>
            </a:pPr>
            <a:r>
              <a:rPr lang="en-US" sz="1100" b="1" baseline="0" dirty="0">
                <a:solidFill>
                  <a:schemeClr val="tx1"/>
                </a:solidFill>
              </a:rPr>
              <a:t>Color</a:t>
            </a:r>
            <a:r>
              <a:rPr lang="en-US" sz="1100" b="1" dirty="0">
                <a:solidFill>
                  <a:schemeClr val="tx1"/>
                </a:solidFill>
              </a:rPr>
              <a:t>                </a:t>
            </a:r>
            <a:r>
              <a:rPr lang="en-US" sz="1100" b="1" baseline="0" dirty="0">
                <a:solidFill>
                  <a:schemeClr val="tx1"/>
                </a:solidFill>
              </a:rPr>
              <a:t>R       G       B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050" baseline="0" dirty="0">
                <a:solidFill>
                  <a:schemeClr val="tx1"/>
                </a:solidFill>
              </a:rPr>
              <a:t>TROPIC</a:t>
            </a:r>
            <a:r>
              <a:rPr lang="en-US" sz="1050" dirty="0">
                <a:solidFill>
                  <a:schemeClr val="tx1"/>
                </a:solidFill>
              </a:rPr>
              <a:t>        </a:t>
            </a:r>
            <a:r>
              <a:rPr lang="en-US" sz="900" dirty="0">
                <a:solidFill>
                  <a:schemeClr val="tx1"/>
                </a:solidFill>
              </a:rPr>
              <a:t>   </a:t>
            </a:r>
            <a:r>
              <a:rPr lang="en-US" sz="900" baseline="0" dirty="0">
                <a:solidFill>
                  <a:schemeClr val="tx1"/>
                </a:solidFill>
              </a:rPr>
              <a:t>   </a:t>
            </a:r>
            <a:r>
              <a:rPr lang="en-US" sz="1100" baseline="0" dirty="0">
                <a:solidFill>
                  <a:schemeClr val="tx1"/>
                </a:solidFill>
              </a:rPr>
              <a:t>203 </a:t>
            </a:r>
            <a:r>
              <a:rPr lang="en-US" sz="1100" dirty="0">
                <a:solidFill>
                  <a:schemeClr val="tx1"/>
                </a:solidFill>
              </a:rPr>
              <a:t>   100    </a:t>
            </a:r>
            <a:r>
              <a:rPr lang="en-US" sz="1100" baseline="0" dirty="0">
                <a:solidFill>
                  <a:schemeClr val="tx1"/>
                </a:solidFill>
              </a:rPr>
              <a:t>35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050" baseline="0" dirty="0">
                <a:solidFill>
                  <a:schemeClr val="tx1"/>
                </a:solidFill>
              </a:rPr>
              <a:t>SPRING </a:t>
            </a:r>
            <a:r>
              <a:rPr lang="en-US" sz="900" baseline="0" dirty="0">
                <a:solidFill>
                  <a:schemeClr val="tx1"/>
                </a:solidFill>
              </a:rPr>
              <a:t>        </a:t>
            </a:r>
            <a:r>
              <a:rPr lang="en-US" sz="1050" dirty="0">
                <a:solidFill>
                  <a:schemeClr val="tx1"/>
                </a:solidFill>
              </a:rPr>
              <a:t> 	   </a:t>
            </a:r>
            <a:r>
              <a:rPr lang="en-US" sz="1100" baseline="0" dirty="0">
                <a:solidFill>
                  <a:schemeClr val="tx1"/>
                </a:solidFill>
              </a:rPr>
              <a:t>176  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baseline="0" dirty="0">
                <a:solidFill>
                  <a:schemeClr val="tx1"/>
                </a:solidFill>
              </a:rPr>
              <a:t>164</a:t>
            </a:r>
            <a:r>
              <a:rPr lang="en-US" sz="1000" baseline="0" dirty="0">
                <a:solidFill>
                  <a:schemeClr val="tx1"/>
                </a:solidFill>
              </a:rPr>
              <a:t>     </a:t>
            </a:r>
            <a:r>
              <a:rPr lang="en-US" sz="1100" baseline="0" dirty="0">
                <a:solidFill>
                  <a:schemeClr val="tx1"/>
                </a:solidFill>
              </a:rPr>
              <a:t>52</a:t>
            </a:r>
            <a:endParaRPr lang="en-US" sz="1100" b="1" baseline="0" dirty="0">
              <a:solidFill>
                <a:schemeClr val="tx1"/>
              </a:solidFill>
            </a:endParaRPr>
          </a:p>
        </p:txBody>
      </p:sp>
      <p:cxnSp>
        <p:nvCxnSpPr>
          <p:cNvPr id="167" name="Rak 122"/>
          <p:cNvCxnSpPr/>
          <p:nvPr userDrawn="1"/>
        </p:nvCxnSpPr>
        <p:spPr>
          <a:xfrm>
            <a:off x="9197943" y="1709005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Rak 123"/>
          <p:cNvCxnSpPr/>
          <p:nvPr userDrawn="1"/>
        </p:nvCxnSpPr>
        <p:spPr>
          <a:xfrm>
            <a:off x="10168213" y="1710532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Rak 124"/>
          <p:cNvCxnSpPr/>
          <p:nvPr userDrawn="1"/>
        </p:nvCxnSpPr>
        <p:spPr>
          <a:xfrm>
            <a:off x="9197943" y="1284510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Rak 125"/>
          <p:cNvCxnSpPr/>
          <p:nvPr userDrawn="1"/>
        </p:nvCxnSpPr>
        <p:spPr>
          <a:xfrm>
            <a:off x="10168213" y="1286037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Rak 126"/>
          <p:cNvCxnSpPr/>
          <p:nvPr userDrawn="1"/>
        </p:nvCxnSpPr>
        <p:spPr>
          <a:xfrm>
            <a:off x="9197943" y="2130474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Rak 127"/>
          <p:cNvCxnSpPr/>
          <p:nvPr userDrawn="1"/>
        </p:nvCxnSpPr>
        <p:spPr>
          <a:xfrm>
            <a:off x="10168213" y="2132001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23217" y="1998751"/>
            <a:ext cx="317538" cy="317489"/>
          </a:xfrm>
          <a:prstGeom prst="ellipse">
            <a:avLst/>
          </a:prstGeom>
          <a:solidFill>
            <a:srgbClr val="99816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3217" y="2421619"/>
            <a:ext cx="317538" cy="317489"/>
          </a:xfrm>
          <a:prstGeom prst="ellipse">
            <a:avLst/>
          </a:prstGeom>
          <a:solidFill>
            <a:srgbClr val="BACFD9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23217" y="2844486"/>
            <a:ext cx="317538" cy="317489"/>
          </a:xfrm>
          <a:prstGeom prst="ellipse">
            <a:avLst/>
          </a:prstGeom>
          <a:solidFill>
            <a:srgbClr val="BFBAA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23217" y="3267354"/>
            <a:ext cx="317538" cy="317489"/>
          </a:xfrm>
          <a:prstGeom prst="ellipse">
            <a:avLst/>
          </a:prstGeom>
          <a:solidFill>
            <a:srgbClr val="A0BAB8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723217" y="3690221"/>
            <a:ext cx="317538" cy="317489"/>
          </a:xfrm>
          <a:prstGeom prst="ellipse">
            <a:avLst/>
          </a:prstGeom>
          <a:solidFill>
            <a:srgbClr val="63605B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217" y="4113090"/>
            <a:ext cx="317538" cy="317489"/>
          </a:xfrm>
          <a:prstGeom prst="ellipse">
            <a:avLst/>
          </a:prstGeom>
          <a:solidFill>
            <a:srgbClr val="8F8A8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1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422094" y="1998751"/>
            <a:ext cx="317538" cy="317489"/>
          </a:xfrm>
          <a:prstGeom prst="ellipse">
            <a:avLst/>
          </a:prstGeom>
          <a:solidFill>
            <a:srgbClr val="BDB6AF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422094" y="2421619"/>
            <a:ext cx="317538" cy="317489"/>
          </a:xfrm>
          <a:prstGeom prst="ellipse">
            <a:avLst/>
          </a:prstGeom>
          <a:solidFill>
            <a:srgbClr val="E8E5E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422094" y="2844486"/>
            <a:ext cx="317538" cy="317489"/>
          </a:xfrm>
          <a:prstGeom prst="ellipse">
            <a:avLst/>
          </a:prstGeom>
          <a:solidFill>
            <a:srgbClr val="634632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422094" y="3267354"/>
            <a:ext cx="317538" cy="317489"/>
          </a:xfrm>
          <a:prstGeom prst="ellipse">
            <a:avLst/>
          </a:prstGeom>
          <a:solidFill>
            <a:srgbClr val="08445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422094" y="3690221"/>
            <a:ext cx="317538" cy="317489"/>
          </a:xfrm>
          <a:prstGeom prst="ellipse">
            <a:avLst/>
          </a:prstGeom>
          <a:solidFill>
            <a:srgbClr val="692F47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782003" y="1326382"/>
            <a:ext cx="317538" cy="317489"/>
          </a:xfrm>
          <a:prstGeom prst="ellipse">
            <a:avLst/>
          </a:prstGeom>
          <a:solidFill>
            <a:srgbClr val="CB642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8782003" y="1754692"/>
            <a:ext cx="317538" cy="317489"/>
          </a:xfrm>
          <a:prstGeom prst="ellipse">
            <a:avLst/>
          </a:prstGeom>
          <a:solidFill>
            <a:srgbClr val="B0A43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8" name="Rectangle 81"/>
          <p:cNvSpPr/>
          <p:nvPr userDrawn="1"/>
        </p:nvSpPr>
        <p:spPr>
          <a:xfrm>
            <a:off x="9082105" y="2294630"/>
            <a:ext cx="2280737" cy="2155359"/>
          </a:xfrm>
          <a:prstGeom prst="rect">
            <a:avLst/>
          </a:prstGeom>
        </p:spPr>
        <p:txBody>
          <a:bodyPr wrap="square" lIns="115214" tIns="57607" rIns="115214" bIns="57607" numCol="1" spcCol="45360">
            <a:spAutoFit/>
          </a:bodyPr>
          <a:lstStyle/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baseline="0" dirty="0">
                <a:solidFill>
                  <a:schemeClr val="tx1"/>
                </a:solidFill>
              </a:rPr>
              <a:t>Success</a:t>
            </a:r>
            <a:r>
              <a:rPr lang="en-US" sz="1100" dirty="0">
                <a:solidFill>
                  <a:schemeClr val="tx1"/>
                </a:solidFill>
              </a:rPr>
              <a:t>            </a:t>
            </a:r>
            <a:r>
              <a:rPr lang="en-US" sz="1100" baseline="0" dirty="0">
                <a:solidFill>
                  <a:schemeClr val="tx1"/>
                </a:solidFill>
              </a:rPr>
              <a:t>71     150   45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dirty="0">
                <a:solidFill>
                  <a:schemeClr val="tx1"/>
                </a:solidFill>
              </a:rPr>
              <a:t>Warning</a:t>
            </a:r>
            <a:r>
              <a:rPr lang="en-US" sz="1100" baseline="0" dirty="0">
                <a:solidFill>
                  <a:schemeClr val="tx1"/>
                </a:solidFill>
              </a:rPr>
              <a:t>            247    211   2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dirty="0">
                <a:solidFill>
                  <a:schemeClr val="tx1"/>
                </a:solidFill>
              </a:rPr>
              <a:t>Error</a:t>
            </a:r>
            <a:r>
              <a:rPr lang="en-US" sz="1100" baseline="0" dirty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chemeClr val="tx1"/>
                </a:solidFill>
              </a:rPr>
              <a:t>                196    0       26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baseline="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b="1" dirty="0">
                <a:solidFill>
                  <a:schemeClr val="tx1"/>
                </a:solidFill>
              </a:rPr>
              <a:t>	</a:t>
            </a:r>
            <a:endParaRPr lang="en-US" sz="1100" b="1" baseline="0" dirty="0">
              <a:solidFill>
                <a:schemeClr val="tx1"/>
              </a:solidFill>
            </a:endParaRPr>
          </a:p>
        </p:txBody>
      </p:sp>
      <p:cxnSp>
        <p:nvCxnSpPr>
          <p:cNvPr id="189" name="Rak 107"/>
          <p:cNvCxnSpPr/>
          <p:nvPr userDrawn="1"/>
        </p:nvCxnSpPr>
        <p:spPr>
          <a:xfrm>
            <a:off x="9192332" y="3294736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Rak 108"/>
          <p:cNvCxnSpPr/>
          <p:nvPr userDrawn="1"/>
        </p:nvCxnSpPr>
        <p:spPr>
          <a:xfrm>
            <a:off x="10162602" y="3296263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Rak 109"/>
          <p:cNvCxnSpPr/>
          <p:nvPr userDrawn="1"/>
        </p:nvCxnSpPr>
        <p:spPr>
          <a:xfrm>
            <a:off x="9192332" y="2870241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Rak 110"/>
          <p:cNvCxnSpPr/>
          <p:nvPr userDrawn="1"/>
        </p:nvCxnSpPr>
        <p:spPr>
          <a:xfrm>
            <a:off x="10162602" y="2871768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Rak 111"/>
          <p:cNvCxnSpPr/>
          <p:nvPr userDrawn="1"/>
        </p:nvCxnSpPr>
        <p:spPr>
          <a:xfrm>
            <a:off x="9192332" y="3716205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Rak 112"/>
          <p:cNvCxnSpPr/>
          <p:nvPr userDrawn="1"/>
        </p:nvCxnSpPr>
        <p:spPr>
          <a:xfrm>
            <a:off x="10162602" y="3717732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84"/>
          <p:cNvSpPr/>
          <p:nvPr userDrawn="1"/>
        </p:nvSpPr>
        <p:spPr>
          <a:xfrm>
            <a:off x="6014417" y="4704784"/>
            <a:ext cx="5360967" cy="150078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214" tIns="57607" rIns="115214" bIns="576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8" name="Text Box 56"/>
          <p:cNvSpPr txBox="1">
            <a:spLocks noChangeArrowheads="1"/>
          </p:cNvSpPr>
          <p:nvPr userDrawn="1"/>
        </p:nvSpPr>
        <p:spPr bwMode="auto">
          <a:xfrm>
            <a:off x="7798506" y="5515910"/>
            <a:ext cx="3576877" cy="454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5214" tIns="57607" rIns="115214" bIns="57607">
            <a:spAutoFit/>
          </a:bodyPr>
          <a:lstStyle/>
          <a:p>
            <a:pPr>
              <a:spcBef>
                <a:spcPts val="1512"/>
              </a:spcBef>
              <a:buClr>
                <a:schemeClr val="tx2"/>
              </a:buClr>
              <a:buSzPct val="110000"/>
            </a:pPr>
            <a:r>
              <a: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ten profile colors when formatting text and objects in PowerPoint.</a:t>
            </a:r>
          </a:p>
        </p:txBody>
      </p:sp>
      <p:sp>
        <p:nvSpPr>
          <p:cNvPr id="200" name="AutoShape 38"/>
          <p:cNvSpPr>
            <a:spLocks/>
          </p:cNvSpPr>
          <p:nvPr userDrawn="1"/>
        </p:nvSpPr>
        <p:spPr bwMode="auto">
          <a:xfrm rot="10800000" flipH="1">
            <a:off x="7513886" y="4704784"/>
            <a:ext cx="88666" cy="752752"/>
          </a:xfrm>
          <a:prstGeom prst="rightBrace">
            <a:avLst>
              <a:gd name="adj1" fmla="val 60268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3400" tIns="58968" rIns="113400" bIns="58968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01" name="Group 89"/>
          <p:cNvGrpSpPr/>
          <p:nvPr userDrawn="1"/>
        </p:nvGrpSpPr>
        <p:grpSpPr>
          <a:xfrm>
            <a:off x="7627959" y="3655276"/>
            <a:ext cx="140639" cy="1103736"/>
            <a:chOff x="6365658" y="4893288"/>
            <a:chExt cx="365551" cy="1161358"/>
          </a:xfrm>
        </p:grpSpPr>
        <p:cxnSp>
          <p:nvCxnSpPr>
            <p:cNvPr id="202" name="Straight Connector 91"/>
            <p:cNvCxnSpPr/>
            <p:nvPr userDrawn="1"/>
          </p:nvCxnSpPr>
          <p:spPr>
            <a:xfrm>
              <a:off x="6365658" y="4893288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92"/>
            <p:cNvCxnSpPr/>
            <p:nvPr userDrawn="1"/>
          </p:nvCxnSpPr>
          <p:spPr>
            <a:xfrm>
              <a:off x="6468234" y="5412672"/>
              <a:ext cx="262975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93"/>
            <p:cNvCxnSpPr/>
            <p:nvPr userDrawn="1"/>
          </p:nvCxnSpPr>
          <p:spPr>
            <a:xfrm>
              <a:off x="6365658" y="6054646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Rectangle 94"/>
          <p:cNvSpPr/>
          <p:nvPr userDrawn="1"/>
        </p:nvSpPr>
        <p:spPr>
          <a:xfrm>
            <a:off x="7792949" y="4845783"/>
            <a:ext cx="3507295" cy="691506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Volvo Brand colors in PowerPoint</a:t>
            </a:r>
          </a:p>
          <a:p>
            <a:pPr marL="0" indent="0">
              <a:spcBef>
                <a:spcPts val="252"/>
              </a:spcBef>
              <a:buNone/>
            </a:pPr>
            <a:r>
              <a:rPr lang="en-US" sz="1100" baseline="0" dirty="0">
                <a:solidFill>
                  <a:schemeClr val="tx1"/>
                </a:solidFill>
              </a:rPr>
              <a:t>Select an object. On the Home tab, in the group Drawing, click the down arrow on SHAPE FILL. </a:t>
            </a:r>
          </a:p>
        </p:txBody>
      </p:sp>
      <p:sp>
        <p:nvSpPr>
          <p:cNvPr id="207" name="Rectangle 67"/>
          <p:cNvSpPr/>
          <p:nvPr userDrawn="1"/>
        </p:nvSpPr>
        <p:spPr>
          <a:xfrm>
            <a:off x="606108" y="5324052"/>
            <a:ext cx="5022879" cy="290820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FORMAT</a:t>
            </a:r>
            <a:r>
              <a: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INTER          (On the Home tab, in the Clipboard group).</a:t>
            </a:r>
          </a:p>
        </p:txBody>
      </p:sp>
      <p:sp>
        <p:nvSpPr>
          <p:cNvPr id="208" name="Rectangle 68"/>
          <p:cNvSpPr/>
          <p:nvPr userDrawn="1"/>
        </p:nvSpPr>
        <p:spPr>
          <a:xfrm>
            <a:off x="606108" y="5587529"/>
            <a:ext cx="5347067" cy="814297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n go to the object you want to color in and click on it. The new object </a:t>
            </a:r>
            <a:b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 has the new color. The color is only available in the paintbrush one </a:t>
            </a:r>
            <a:b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 but if you double-click the paint-brush, when you select it, you can </a:t>
            </a:r>
            <a:b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it on several objects.</a:t>
            </a:r>
          </a:p>
        </p:txBody>
      </p:sp>
      <p:sp>
        <p:nvSpPr>
          <p:cNvPr id="209" name="Rectangle 82"/>
          <p:cNvSpPr/>
          <p:nvPr userDrawn="1"/>
        </p:nvSpPr>
        <p:spPr>
          <a:xfrm>
            <a:off x="606109" y="4661663"/>
            <a:ext cx="4994899" cy="691506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How to select the colors</a:t>
            </a:r>
          </a:p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25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>
                <a:solidFill>
                  <a:schemeClr val="tx1"/>
                </a:solidFill>
              </a:rPr>
              <a:t>Select a color by clicking on the </a:t>
            </a:r>
            <a:r>
              <a:rPr lang="en-US" sz="1100" b="1" baseline="0" dirty="0">
                <a:solidFill>
                  <a:schemeClr val="tx1"/>
                </a:solidFill>
              </a:rPr>
              <a:t>dotted frame </a:t>
            </a:r>
            <a:r>
              <a:rPr lang="en-US" sz="1100" baseline="0" dirty="0">
                <a:solidFill>
                  <a:schemeClr val="tx1"/>
                </a:solidFill>
              </a:rPr>
              <a:t>of the colored circle. </a:t>
            </a:r>
            <a:br>
              <a:rPr lang="en-US" sz="1100" baseline="0" dirty="0">
                <a:solidFill>
                  <a:schemeClr val="tx1"/>
                </a:solidFill>
              </a:rPr>
            </a:br>
            <a:r>
              <a:rPr lang="en-US" sz="1100" baseline="0" dirty="0">
                <a:solidFill>
                  <a:schemeClr val="tx1"/>
                </a:solidFill>
              </a:rPr>
              <a:t>Click when th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baseline="0" dirty="0">
                <a:solidFill>
                  <a:schemeClr val="tx1"/>
                </a:solidFill>
              </a:rPr>
              <a:t>curser looks like a cross.</a:t>
            </a:r>
          </a:p>
        </p:txBody>
      </p:sp>
      <p:pic>
        <p:nvPicPr>
          <p:cNvPr id="21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" t="9051" r="95893" b="88688"/>
          <a:stretch/>
        </p:blipFill>
        <p:spPr bwMode="auto">
          <a:xfrm>
            <a:off x="2371989" y="5329496"/>
            <a:ext cx="271700" cy="27668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782003" y="2918593"/>
            <a:ext cx="317538" cy="317489"/>
          </a:xfrm>
          <a:prstGeom prst="ellipse">
            <a:avLst/>
          </a:prstGeom>
          <a:solidFill>
            <a:srgbClr val="47962D"/>
          </a:solidFill>
        </p:spPr>
        <p:txBody>
          <a:bodyPr anchor="ctr" anchorCtr="1">
            <a:noAutofit/>
          </a:bodyPr>
          <a:lstStyle>
            <a:lvl1pPr marL="232029" indent="-232029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782003" y="3341461"/>
            <a:ext cx="317538" cy="317489"/>
          </a:xfrm>
          <a:prstGeom prst="ellipse">
            <a:avLst/>
          </a:prstGeom>
          <a:solidFill>
            <a:srgbClr val="F7D302"/>
          </a:solidFill>
        </p:spPr>
        <p:txBody>
          <a:bodyPr anchor="ctr" anchorCtr="1">
            <a:noAutofit/>
          </a:bodyPr>
          <a:lstStyle>
            <a:lvl1pPr marL="232029" indent="-232029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6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8782003" y="3764328"/>
            <a:ext cx="317538" cy="317489"/>
          </a:xfrm>
          <a:prstGeom prst="ellipse">
            <a:avLst/>
          </a:prstGeom>
          <a:solidFill>
            <a:srgbClr val="C4001A"/>
          </a:solidFill>
        </p:spPr>
        <p:txBody>
          <a:bodyPr anchor="ctr" anchorCtr="1">
            <a:noAutofit/>
          </a:bodyPr>
          <a:lstStyle>
            <a:lvl1pPr marL="232029" indent="-232029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84" name="Rectangle 80"/>
          <p:cNvSpPr/>
          <p:nvPr userDrawn="1"/>
        </p:nvSpPr>
        <p:spPr>
          <a:xfrm>
            <a:off x="6041091" y="906551"/>
            <a:ext cx="2960533" cy="2968402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Accent colors</a:t>
            </a:r>
          </a:p>
          <a:p>
            <a:pPr>
              <a:lnSpc>
                <a:spcPts val="1386"/>
              </a:lnSpc>
              <a:spcBef>
                <a:spcPts val="252"/>
              </a:spcBef>
            </a:pPr>
            <a:r>
              <a:rPr lang="sv-SE" sz="1100" dirty="0">
                <a:solidFill>
                  <a:schemeClr val="tx1"/>
                </a:solidFill>
              </a:rPr>
              <a:t>Use each color in 100% and only to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draw attention to a message or a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pecific element. Don’t overuse them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– the effect will be compromised.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Accent colors should never be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used for decorative purposes. And remember to only stick to one color. </a:t>
            </a:r>
            <a:endParaRPr lang="en-US" sz="1300" b="1" baseline="0" dirty="0">
              <a:solidFill>
                <a:schemeClr val="tx1"/>
              </a:solidFill>
            </a:endParaRPr>
          </a:p>
          <a:p>
            <a:endParaRPr lang="sv-SE" sz="13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sv-SE" sz="13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v-SE" sz="13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gnal colors</a:t>
            </a:r>
          </a:p>
          <a:p>
            <a:pPr>
              <a:lnSpc>
                <a:spcPts val="1386"/>
              </a:lnSpc>
              <a:spcBef>
                <a:spcPts val="252"/>
              </a:spcBef>
            </a:pP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ignal colors are standard</a:t>
            </a:r>
            <a:r>
              <a:rPr lang="sv-SE" sz="1100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ors, </a:t>
            </a:r>
            <a:b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 unique to the Volvo</a:t>
            </a:r>
            <a:r>
              <a:rPr lang="sv-SE" sz="1100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and, and </a:t>
            </a:r>
            <a:b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e one</a:t>
            </a:r>
            <a:r>
              <a:rPr lang="sv-SE" sz="1100" dirty="0">
                <a:solidFill>
                  <a:schemeClr val="tx1"/>
                </a:solidFill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rpose only: To highlight </a:t>
            </a:r>
            <a:b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 feedback</a:t>
            </a:r>
            <a:r>
              <a:rPr lang="sv-SE" sz="1100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ssages</a:t>
            </a:r>
            <a:endParaRPr lang="en-US" sz="1100" baseline="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8499884"/>
              </p:ext>
            </p:extLst>
          </p:nvPr>
        </p:nvGraphicFramePr>
        <p:xfrm>
          <a:off x="1148533" y="1571440"/>
          <a:ext cx="2029382" cy="2899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2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251">
                <a:tc>
                  <a:txBody>
                    <a:bodyPr/>
                    <a:lstStyle/>
                    <a:p>
                      <a:r>
                        <a:rPr lang="en-US" sz="1200" b="1" baseline="0" dirty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NOUGAT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53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2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02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OXYGEN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07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17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734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OYSTER</a:t>
                      </a:r>
                      <a:r>
                        <a:rPr lang="en-US" sz="9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91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6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66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71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LAGOON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60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84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BACKDROP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6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1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CONCRETE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43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3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31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83" name="Table 8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68169194"/>
              </p:ext>
            </p:extLst>
          </p:nvPr>
        </p:nvGraphicFramePr>
        <p:xfrm>
          <a:off x="3850762" y="1571440"/>
          <a:ext cx="2029382" cy="2899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2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251">
                <a:tc>
                  <a:txBody>
                    <a:bodyPr/>
                    <a:lstStyle/>
                    <a:p>
                      <a:r>
                        <a:rPr lang="en-US" sz="1200" b="1" baseline="0" dirty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WOOL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2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75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CLOUD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32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2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27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734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TEAK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99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70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71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PETROLEUM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4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PLUM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05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7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71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OLIVE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5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8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5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422094" y="4113090"/>
            <a:ext cx="317538" cy="317489"/>
          </a:xfrm>
          <a:prstGeom prst="ellipse">
            <a:avLst/>
          </a:prstGeom>
          <a:solidFill>
            <a:srgbClr val="5F582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0185" y="4872759"/>
            <a:ext cx="1647825" cy="1285875"/>
          </a:xfrm>
          <a:prstGeom prst="rect">
            <a:avLst/>
          </a:prstGeom>
        </p:spPr>
      </p:pic>
      <p:cxnSp>
        <p:nvCxnSpPr>
          <p:cNvPr id="88" name="Rak 109"/>
          <p:cNvCxnSpPr/>
          <p:nvPr userDrawn="1"/>
        </p:nvCxnSpPr>
        <p:spPr>
          <a:xfrm>
            <a:off x="9180072" y="4133056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Rak 110"/>
          <p:cNvCxnSpPr/>
          <p:nvPr userDrawn="1"/>
        </p:nvCxnSpPr>
        <p:spPr>
          <a:xfrm>
            <a:off x="10150342" y="4134583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476250" y="4939434"/>
            <a:ext cx="22510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</a:pPr>
            <a:r>
              <a:rPr lang="sv-S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>
              <a:lnSpc>
                <a:spcPts val="1100"/>
              </a:lnSpc>
            </a:pPr>
            <a:endParaRPr lang="sv-SE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endParaRPr lang="sv-SE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r>
              <a:rPr lang="sv-S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</a:p>
          <a:p>
            <a:pPr>
              <a:lnSpc>
                <a:spcPts val="1100"/>
              </a:lnSpc>
            </a:pPr>
            <a:endParaRPr lang="sv-SE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r>
              <a:rPr lang="sv-S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691227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89215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667297" y="1663908"/>
            <a:ext cx="10097541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en-US" sz="700" b="1" baseline="0" noProof="0" dirty="0">
                <a:solidFill>
                  <a:schemeClr val="tx1"/>
                </a:solidFill>
                <a:latin typeface="Arial" charset="0"/>
              </a:rPr>
              <a:t>Volvo Group Trucks Technology</a:t>
            </a:r>
          </a:p>
        </p:txBody>
      </p:sp>
      <p:pic>
        <p:nvPicPr>
          <p:cNvPr id="26" name="Bildobjekt 8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0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42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3" r:id="rId5"/>
    <p:sldLayoutId id="2147483666" r:id="rId6"/>
    <p:sldLayoutId id="2147483664" r:id="rId7"/>
    <p:sldLayoutId id="2147483653" r:id="rId8"/>
    <p:sldLayoutId id="2147483660" r:id="rId9"/>
    <p:sldLayoutId id="2147483667" r:id="rId10"/>
    <p:sldLayoutId id="2147483668" r:id="rId11"/>
    <p:sldLayoutId id="2147483670" r:id="rId12"/>
    <p:sldLayoutId id="2147483671" r:id="rId13"/>
    <p:sldLayoutId id="2147483669" r:id="rId14"/>
  </p:sldLayoutIdLst>
  <p:hf hdr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en-US" sz="2800" b="1" kern="1200" smtClean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4950" indent="-234950" algn="l" defTabSz="914400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lang="en-US" sz="18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207963" algn="l" defTabSz="914400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–"/>
        <a:defRPr lang="en-US" sz="18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12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hyperlink" Target="https://teams.microsoft.com/_#/files/General?threadId=19:92170125e8ea4527b2f28f14cc740cad@thread.tacv2&amp;ctx=channel&amp;rootfolder=%252Fsites%252Fproj-matlab-to-python-initiative%252FShared%2520Documents%252FGeneral%252FKnowledge%2520Sharing%252FPandas" TargetMode="External"/><Relationship Id="rId11" Type="http://schemas.microsoft.com/office/2007/relationships/diagramDrawing" Target="../diagrams/drawing1.xml"/><Relationship Id="rId5" Type="http://schemas.openxmlformats.org/officeDocument/2006/relationships/image" Target="../media/image6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11.bin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614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dirty="0"/>
              <a:t>MATLAB to Python</a:t>
            </a:r>
            <a:endParaRPr lang="en-US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Panda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AE3C93B-A66F-4951-9739-B999EDFA79D8}" type="datetime1">
              <a:rPr lang="sv-SE" smtClean="0"/>
              <a:t>2021-03-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51736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852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’s Pandas for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67298" y="1663908"/>
            <a:ext cx="5799764" cy="4098717"/>
          </a:xfrm>
        </p:spPr>
        <p:txBody>
          <a:bodyPr/>
          <a:lstStyle/>
          <a:p>
            <a:r>
              <a:rPr lang="en-IN" dirty="0"/>
              <a:t>Pandas is a Python Library, mainly used to analyse </a:t>
            </a:r>
            <a:r>
              <a:rPr lang="en-IN" b="1" u="sng" dirty="0">
                <a:hlinkClick r:id="rId6"/>
              </a:rPr>
              <a:t>data</a:t>
            </a:r>
            <a:r>
              <a:rPr lang="en-IN" b="1" u="sng" dirty="0"/>
              <a:t>.</a:t>
            </a:r>
          </a:p>
          <a:p>
            <a:pPr lvl="1"/>
            <a:r>
              <a:rPr lang="en-IN" dirty="0"/>
              <a:t>For example: Exploration of dataset</a:t>
            </a:r>
          </a:p>
          <a:p>
            <a:r>
              <a:rPr lang="en-IN" dirty="0"/>
              <a:t>Data cleaning and preparation for visualization</a:t>
            </a:r>
          </a:p>
          <a:p>
            <a:r>
              <a:rPr lang="en-IN" dirty="0"/>
              <a:t>Store the cleaned data back into a CSV, Excel or JSON file formats</a:t>
            </a:r>
          </a:p>
          <a:p>
            <a:r>
              <a:rPr lang="en-IN" dirty="0"/>
              <a:t>Jupyter Notebook best preferred for dataset operations</a:t>
            </a:r>
          </a:p>
          <a:p>
            <a:pPr marL="0" indent="0">
              <a:buNone/>
            </a:pPr>
            <a:endParaRPr lang="en-IN" dirty="0"/>
          </a:p>
          <a:p>
            <a:endParaRPr lang="en-US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C278A40-F080-41EF-9A49-D86851BE37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3274971"/>
              </p:ext>
            </p:extLst>
          </p:nvPr>
        </p:nvGraphicFramePr>
        <p:xfrm>
          <a:off x="5761037" y="684568"/>
          <a:ext cx="5799765" cy="3733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0E58C8F-790E-4BE8-B350-2552D409897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09045" y="4686300"/>
            <a:ext cx="1103747" cy="107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603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7904FD-B518-42FE-A21E-C86BD2AA9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A9BF66-1D4C-40E5-A4C2-217E29032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B39379-E502-46D7-99F6-6B5F528FF5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8A8675-8543-4D63-B678-87CEA6BB6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andas First Steps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58A622-6219-4A37-A857-DB71737A76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Installation</a:t>
            </a:r>
          </a:p>
          <a:p>
            <a:pPr lvl="1"/>
            <a:r>
              <a:rPr lang="en-IN" dirty="0"/>
              <a:t>conda install pandas</a:t>
            </a:r>
          </a:p>
          <a:p>
            <a:pPr marL="252413" lvl="1" indent="0">
              <a:buNone/>
            </a:pPr>
            <a:r>
              <a:rPr lang="en-IN" dirty="0"/>
              <a:t>	OR</a:t>
            </a:r>
          </a:p>
          <a:p>
            <a:pPr lvl="1"/>
            <a:r>
              <a:rPr lang="en-IN" dirty="0"/>
              <a:t>pip install pandas</a:t>
            </a:r>
          </a:p>
          <a:p>
            <a:pPr marL="252413" lvl="1" indent="0">
              <a:buNone/>
            </a:pPr>
            <a:r>
              <a:rPr lang="en-IN" dirty="0"/>
              <a:t> OR</a:t>
            </a:r>
          </a:p>
          <a:p>
            <a:pPr lvl="1"/>
            <a:r>
              <a:rPr lang="en-IN" dirty="0"/>
              <a:t>!pip install pandas (in a Jupyter notebook)</a:t>
            </a:r>
            <a:endParaRPr lang="en-US" dirty="0"/>
          </a:p>
          <a:p>
            <a:r>
              <a:rPr lang="en-US" dirty="0"/>
              <a:t>Import</a:t>
            </a:r>
          </a:p>
          <a:p>
            <a:pPr lvl="1"/>
            <a:r>
              <a:rPr lang="en-US" b="1" dirty="0">
                <a:solidFill>
                  <a:srgbClr val="00B050"/>
                </a:solidFill>
              </a:rPr>
              <a:t>import</a:t>
            </a:r>
            <a:r>
              <a:rPr lang="en-US" dirty="0"/>
              <a:t> pandas </a:t>
            </a:r>
            <a:r>
              <a:rPr lang="en-US" b="1" dirty="0">
                <a:solidFill>
                  <a:srgbClr val="00B050"/>
                </a:solidFill>
              </a:rPr>
              <a:t>as</a:t>
            </a:r>
            <a:r>
              <a:rPr lang="en-US" dirty="0"/>
              <a:t> p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67442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271B281-9136-4E02-816F-5E0A866A05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CD7073-B72E-4541-9237-D7AA68911B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50DCF6-92D7-49E9-8426-3AA5BF922A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652BB11-7A39-4ADA-8B99-DDF846B77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re components of pandas: Series and DataFrame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1C3AA8-369A-47AD-BB73-92B1AA49D4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96" y="1659225"/>
            <a:ext cx="6438900" cy="240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040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E44CBE9-648B-4C56-8B5F-9D1D4A2609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ocess &amp; IT, Title, Name, Security clas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9917FE-EF3F-47A5-9879-3A92584483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D6B77E-BAE4-42E2-B0CA-055EDA89A9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67A84C-3CA9-4D6B-A33E-035A35FB68B7}" type="datetime1">
              <a:rPr lang="sv-SE" smtClean="0"/>
              <a:t>2021-03-2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B6F906-3B84-4460-AB8B-3FB85C3C5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ost important operations on DataFrames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C19942-2CD8-4B95-8AD4-B0E1C9F784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/>
              <a:t>Creating DataFrames from scratch</a:t>
            </a:r>
          </a:p>
          <a:p>
            <a:r>
              <a:rPr lang="en-US" dirty="0"/>
              <a:t>Reading datasets</a:t>
            </a:r>
          </a:p>
          <a:p>
            <a:r>
              <a:rPr lang="en-US" dirty="0"/>
              <a:t>Viewing your dataset</a:t>
            </a:r>
          </a:p>
          <a:p>
            <a:r>
              <a:rPr lang="en-US" dirty="0"/>
              <a:t>Getting info about your data</a:t>
            </a:r>
          </a:p>
          <a:p>
            <a:r>
              <a:rPr lang="en-US" dirty="0"/>
              <a:t>Handling duplicates</a:t>
            </a:r>
          </a:p>
          <a:p>
            <a:r>
              <a:rPr lang="en-US" dirty="0"/>
              <a:t>Working with missing values</a:t>
            </a:r>
          </a:p>
          <a:p>
            <a:r>
              <a:rPr lang="en-US" dirty="0"/>
              <a:t>Removing null values</a:t>
            </a:r>
          </a:p>
          <a:p>
            <a:r>
              <a:rPr lang="en-US" dirty="0"/>
              <a:t>Imputation</a:t>
            </a:r>
          </a:p>
          <a:p>
            <a:r>
              <a:rPr lang="en-US" dirty="0"/>
              <a:t>Understanding your variables</a:t>
            </a:r>
          </a:p>
          <a:p>
            <a:r>
              <a:rPr lang="en-US" dirty="0"/>
              <a:t>Indexing and Slicing</a:t>
            </a:r>
          </a:p>
          <a:p>
            <a:r>
              <a:rPr lang="en-US" dirty="0"/>
              <a:t>Applying functions</a:t>
            </a:r>
          </a:p>
        </p:txBody>
      </p:sp>
    </p:spTree>
    <p:extLst>
      <p:ext uri="{BB962C8B-B14F-4D97-AF65-F5344CB8AC3E}">
        <p14:creationId xmlns:p14="http://schemas.microsoft.com/office/powerpoint/2010/main" val="27705862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33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886159" y="4890500"/>
            <a:ext cx="9749756" cy="540015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7064041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OT3v5oQ_2wVuzOX8tc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OT3v5oQ_2wVuzOX8tc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lnD1mSlutmUS0tZ4b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lvo Group Trucks Technology_template">
  <a:themeElements>
    <a:clrScheme name="Custom 1">
      <a:dk1>
        <a:srgbClr val="000000"/>
      </a:dk1>
      <a:lt1>
        <a:srgbClr val="FFFFFF"/>
      </a:lt1>
      <a:dk2>
        <a:srgbClr val="634632"/>
      </a:dk2>
      <a:lt2>
        <a:srgbClr val="E8E5E3"/>
      </a:lt2>
      <a:accent1>
        <a:srgbClr val="BACFD8"/>
      </a:accent1>
      <a:accent2>
        <a:srgbClr val="A0BAB8"/>
      </a:accent2>
      <a:accent3>
        <a:srgbClr val="692F47"/>
      </a:accent3>
      <a:accent4>
        <a:srgbClr val="084454"/>
      </a:accent4>
      <a:accent5>
        <a:srgbClr val="CB6423"/>
      </a:accent5>
      <a:accent6>
        <a:srgbClr val="B0A434"/>
      </a:accent6>
      <a:hlink>
        <a:srgbClr val="B0A434"/>
      </a:hlink>
      <a:folHlink>
        <a:srgbClr val="C7621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Read-Only]" id="{373E0460-142E-4F59-80AD-445E81BB81B0}" vid="{BB4CE845-E89A-4345-9AF2-7A1949B1FD5B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ACC81115A5764FB5DD50C479FDA0EC" ma:contentTypeVersion="1" ma:contentTypeDescription="Create a new document." ma:contentTypeScope="" ma:versionID="e1ffed7c94c24ce04a8a32227558e368">
  <xsd:schema xmlns:xsd="http://www.w3.org/2001/XMLSchema" xmlns:xs="http://www.w3.org/2001/XMLSchema" xmlns:p="http://schemas.microsoft.com/office/2006/metadata/properties" xmlns:ns2="http://schemas.microsoft.com/sharepoint/v4" targetNamespace="http://schemas.microsoft.com/office/2006/metadata/properties" ma:root="true" ma:fieldsID="c79c8594d4fa4c9fd200c91a62336472" ns2:_=""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CAD791CA-1A11-4FE2-8A9B-EC06C9CFCA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9AA133-E5E6-4A7E-9904-9B6D1EBED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B5C620-1BAD-4B2B-9F3C-EBF261B9CC64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05</TotalTime>
  <Words>183</Words>
  <Application>Microsoft Office PowerPoint</Application>
  <PresentationFormat>Custom</PresentationFormat>
  <Paragraphs>4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Symbol</vt:lpstr>
      <vt:lpstr>Volvo Group Trucks Technology_template</vt:lpstr>
      <vt:lpstr>think-cell Slide</vt:lpstr>
      <vt:lpstr>MATLAB to Python</vt:lpstr>
      <vt:lpstr>What’s Pandas for?</vt:lpstr>
      <vt:lpstr>Pandas First Steps</vt:lpstr>
      <vt:lpstr>Core components of pandas: Series and DataFrames</vt:lpstr>
      <vt:lpstr>Most important operations on DataFrames</vt:lpstr>
      <vt:lpstr>Thank you!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LAB to Python</dc:title>
  <dc:creator>Mani Mithul</dc:creator>
  <cp:lastModifiedBy>Mani Mithul</cp:lastModifiedBy>
  <cp:revision>1</cp:revision>
  <dcterms:created xsi:type="dcterms:W3CDTF">2021-03-24T04:28:53Z</dcterms:created>
  <dcterms:modified xsi:type="dcterms:W3CDTF">2021-03-24T11:1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ACC81115A5764FB5DD50C479FDA0EC</vt:lpwstr>
  </property>
  <property fmtid="{D5CDD505-2E9C-101B-9397-08002B2CF9AE}" pid="3" name="ViolinProcessTags">
    <vt:lpwstr/>
  </property>
  <property fmtid="{D5CDD505-2E9C-101B-9397-08002B2CF9AE}" pid="4" name="ViolinTags">
    <vt:lpwstr/>
  </property>
  <property fmtid="{D5CDD505-2E9C-101B-9397-08002B2CF9AE}" pid="5" name="ViolinOrganizationTags">
    <vt:lpwstr/>
  </property>
  <property fmtid="{D5CDD505-2E9C-101B-9397-08002B2CF9AE}" pid="6" name="ViolinLanguage">
    <vt:lpwstr>1;#English|87e31317-c6c6-4d28-86fe-780f9ae74b3b</vt:lpwstr>
  </property>
  <property fmtid="{D5CDD505-2E9C-101B-9397-08002B2CF9AE}" pid="7" name="IsMyDocuments">
    <vt:i4>1</vt:i4>
  </property>
  <property fmtid="{D5CDD505-2E9C-101B-9397-08002B2CF9AE}" pid="8" name="Violin Publish From">
    <vt:lpwstr>2008-03-11T00:00:00Z</vt:lpwstr>
  </property>
  <property fmtid="{D5CDD505-2E9C-101B-9397-08002B2CF9AE}" pid="9" name="Violin Link Text">
    <vt:lpwstr>Volvo IT Powerpoint example</vt:lpwstr>
  </property>
  <property fmtid="{D5CDD505-2E9C-101B-9397-08002B2CF9AE}" pid="10" name="Violin Reference Number">
    <vt:lpwstr/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IsTagged">
    <vt:lpwstr>1</vt:lpwstr>
  </property>
  <property fmtid="{D5CDD505-2E9C-101B-9397-08002B2CF9AE}" pid="14" name="Violin Publish To">
    <vt:lpwstr/>
  </property>
  <property fmtid="{D5CDD505-2E9C-101B-9397-08002B2CF9AE}" pid="15" name="Violin Valid To">
    <vt:lpwstr/>
  </property>
  <property fmtid="{D5CDD505-2E9C-101B-9397-08002B2CF9AE}" pid="16" name="SPSDescription">
    <vt:lpwstr/>
  </property>
  <property fmtid="{D5CDD505-2E9C-101B-9397-08002B2CF9AE}" pid="17" name="Violin Valid From">
    <vt:lpwstr>2008-03-11T00:00:00Z</vt:lpwstr>
  </property>
  <property fmtid="{D5CDD505-2E9C-101B-9397-08002B2CF9AE}" pid="18" name="TemplateUrl">
    <vt:lpwstr/>
  </property>
  <property fmtid="{D5CDD505-2E9C-101B-9397-08002B2CF9AE}" pid="19" name="LastModifiedUser">
    <vt:lpwstr>Wilhelmsson Anders</vt:lpwstr>
  </property>
  <property fmtid="{D5CDD505-2E9C-101B-9397-08002B2CF9AE}" pid="20" name="ChannelPath">
    <vt:lpwstr>/Channels/volvo_it/corporate/en/communities/communications/tools/templates/templates;
</vt:lpwstr>
  </property>
  <property fmtid="{D5CDD505-2E9C-101B-9397-08002B2CF9AE}" pid="21" name="Violin Document Language">
    <vt:lpwstr>English</vt:lpwstr>
  </property>
  <property fmtid="{D5CDD505-2E9C-101B-9397-08002B2CF9AE}" pid="22" name="_dlc_DocIdItemGuid">
    <vt:lpwstr>8968d1d4-1136-4cfc-8bcd-bf20dada772c</vt:lpwstr>
  </property>
  <property fmtid="{D5CDD505-2E9C-101B-9397-08002B2CF9AE}" pid="23" name="Classification">
    <vt:lpwstr>Internal</vt:lpwstr>
  </property>
  <property fmtid="{D5CDD505-2E9C-101B-9397-08002B2CF9AE}" pid="24" name="Target Audiences">
    <vt:lpwstr/>
  </property>
  <property fmtid="{D5CDD505-2E9C-101B-9397-08002B2CF9AE}" pid="25" name="Violin Information Type">
    <vt:lpwstr>Manuals &amp; Instructions</vt:lpwstr>
  </property>
  <property fmtid="{D5CDD505-2E9C-101B-9397-08002B2CF9AE}" pid="26" name="Owner">
    <vt:lpwstr>Nona Bunea</vt:lpwstr>
  </property>
  <property fmtid="{D5CDD505-2E9C-101B-9397-08002B2CF9AE}" pid="27" name="OverWriteProperties">
    <vt:lpwstr>1</vt:lpwstr>
  </property>
  <property fmtid="{D5CDD505-2E9C-101B-9397-08002B2CF9AE}" pid="28" name="TargetApplication">
    <vt:lpwstr>Intranet/Violin</vt:lpwstr>
  </property>
  <property fmtid="{D5CDD505-2E9C-101B-9397-08002B2CF9AE}" pid="29" name="MSIP_Label_19540963-e559-4020-8a90-fe8a502c2801_Enabled">
    <vt:lpwstr>true</vt:lpwstr>
  </property>
  <property fmtid="{D5CDD505-2E9C-101B-9397-08002B2CF9AE}" pid="30" name="MSIP_Label_19540963-e559-4020-8a90-fe8a502c2801_SetDate">
    <vt:lpwstr>2021-03-24T04:29:01Z</vt:lpwstr>
  </property>
  <property fmtid="{D5CDD505-2E9C-101B-9397-08002B2CF9AE}" pid="31" name="MSIP_Label_19540963-e559-4020-8a90-fe8a502c2801_Method">
    <vt:lpwstr>Standard</vt:lpwstr>
  </property>
  <property fmtid="{D5CDD505-2E9C-101B-9397-08002B2CF9AE}" pid="32" name="MSIP_Label_19540963-e559-4020-8a90-fe8a502c2801_Name">
    <vt:lpwstr>19540963-e559-4020-8a90-fe8a502c2801</vt:lpwstr>
  </property>
  <property fmtid="{D5CDD505-2E9C-101B-9397-08002B2CF9AE}" pid="33" name="MSIP_Label_19540963-e559-4020-8a90-fe8a502c2801_SiteId">
    <vt:lpwstr>f25493ae-1c98-41d7-8a33-0be75f5fe603</vt:lpwstr>
  </property>
  <property fmtid="{D5CDD505-2E9C-101B-9397-08002B2CF9AE}" pid="34" name="MSIP_Label_19540963-e559-4020-8a90-fe8a502c2801_ActionId">
    <vt:lpwstr>ec07480b-6c38-4f5f-acc7-4ccfea491214</vt:lpwstr>
  </property>
  <property fmtid="{D5CDD505-2E9C-101B-9397-08002B2CF9AE}" pid="35" name="MSIP_Label_19540963-e559-4020-8a90-fe8a502c2801_ContentBits">
    <vt:lpwstr>0</vt:lpwstr>
  </property>
</Properties>
</file>